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8"/>
  </p:notesMasterIdLst>
  <p:sldIdLst>
    <p:sldId id="2076136485" r:id="rId3"/>
    <p:sldId id="2145706051" r:id="rId4"/>
    <p:sldId id="2145706036" r:id="rId5"/>
    <p:sldId id="2145706003" r:id="rId6"/>
    <p:sldId id="2147468965"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DF01B3-7EC4-4569-A1C8-F800747126E6}" v="362" dt="2023-01-19T21:59:00.6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22" autoAdjust="0"/>
    <p:restoredTop sz="94660"/>
  </p:normalViewPr>
  <p:slideViewPr>
    <p:cSldViewPr snapToGrid="0">
      <p:cViewPr>
        <p:scale>
          <a:sx n="102" d="100"/>
          <a:sy n="102" d="100"/>
        </p:scale>
        <p:origin x="36" y="2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microsoft.com/office/2015/10/relationships/revisionInfo" Target="revisionInfo.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338004-5C8C-4E15-9083-9228341DC660}" type="datetimeFigureOut">
              <a:rPr lang="en-US" smtClean="0"/>
              <a:t>1/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BB52CB-ADD0-4FCF-84F4-15E546291420}" type="slidenum">
              <a:rPr lang="en-US" smtClean="0"/>
              <a:t>‹#›</a:t>
            </a:fld>
            <a:endParaRPr lang="en-US"/>
          </a:p>
        </p:txBody>
      </p:sp>
    </p:spTree>
    <p:extLst>
      <p:ext uri="{BB962C8B-B14F-4D97-AF65-F5344CB8AC3E}">
        <p14:creationId xmlns:p14="http://schemas.microsoft.com/office/powerpoint/2010/main" val="13009017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mckinsey.com/business-functions/marketing-and-sales/our-insights/the-great-consumer-shift-ten-charts-that-show-how-us-shopping-behavior-is-changing"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 we want to talk to you about how Microsoft can help you to use AI to strengthen your ability to personalize the customer experience across your retail channels. </a:t>
            </a:r>
          </a:p>
          <a:p>
            <a:endParaRPr lang="en-US" dirty="0"/>
          </a:p>
          <a:p>
            <a:r>
              <a:rPr lang="en-US" dirty="0"/>
              <a:t>Let’s talk about business landscape changes that will continue to impact retail.</a:t>
            </a:r>
            <a:endParaRPr lang="en-US" dirty="0">
              <a:cs typeface="Calibri"/>
            </a:endParaRPr>
          </a:p>
          <a:p>
            <a:endParaRPr lang="en-US" dirty="0">
              <a:cs typeface="Calibri"/>
            </a:endParaRPr>
          </a:p>
          <a:p>
            <a:endParaRPr lang="en-US" sz="1800" dirty="0">
              <a:latin typeface="Calibri" panose="020F0502020204030204" pitchFamily="34" charset="0"/>
              <a:cs typeface="Calibri"/>
            </a:endParaRPr>
          </a:p>
          <a:p>
            <a:endParaRPr lang="en-US" dirty="0">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6A9E1C-6A57-4E49-A831-748F968C3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62200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rket Challenge</a:t>
            </a:r>
            <a:endParaRPr lang="en-US" sz="1200" b="1" dirty="0">
              <a:cs typeface="Calibri"/>
            </a:endParaRPr>
          </a:p>
          <a:p>
            <a:endParaRPr lang="en-US" sz="1200" b="0" dirty="0"/>
          </a:p>
          <a:p>
            <a:r>
              <a:rPr lang="en-US" sz="1200" b="0" dirty="0"/>
              <a:t>Customer needs have always driven retail, but today customers expect more—personalized and on-demand service from the moment their path crosses yours, in-person or online. </a:t>
            </a:r>
          </a:p>
          <a:p>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Giving customers the experience they expect requires a lot more </a:t>
            </a:r>
            <a:r>
              <a:rPr lang="en-US" dirty="0"/>
              <a:t>innovation </a:t>
            </a:r>
            <a:r>
              <a:rPr lang="en-US" b="0" dirty="0"/>
              <a:t>than it used to</a:t>
            </a:r>
            <a:r>
              <a:rPr lang="en-US" dirty="0"/>
              <a:t>—and a lot more access to </a:t>
            </a:r>
            <a:r>
              <a:rPr lang="en-US" dirty="0" err="1"/>
              <a:t>data</a:t>
            </a:r>
            <a:r>
              <a:rPr lang="en-US" b="0" dirty="0" err="1"/>
              <a:t>.</a:t>
            </a:r>
            <a:r>
              <a:rPr lang="en-US" sz="1200" dirty="0" err="1"/>
              <a:t>That</a:t>
            </a:r>
            <a:r>
              <a:rPr lang="en-US" sz="1200" dirty="0"/>
              <a:t> shift is reflected in the number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u="none" strike="noStrike" baseline="0" dirty="0">
                <a:solidFill>
                  <a:srgbClr val="000000"/>
                </a:solidFill>
                <a:latin typeface="Gotham Book"/>
              </a:rPr>
              <a:t>78% of consumers are more likely to shop at retailers with a personalized experienc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Some of the most desirable demographic groups--high-income earners and millennials--are leading the way in shifting spend online across both essential and nonessential items, (</a:t>
            </a:r>
            <a:r>
              <a:rPr lang="en-US" dirty="0">
                <a:hlinkClick r:id="rId3"/>
              </a:rPr>
              <a:t>The great consumer shift: Ten charts that show how US shopping behavior is changing | McKinsey</a:t>
            </a:r>
            <a:r>
              <a:rPr lang="en-US" dirty="0"/>
              <a:t>)</a:t>
            </a:r>
            <a:endParaRPr lang="en-US" sz="1200" b="0" i="0" u="none" strike="noStrike" baseline="0" dirty="0">
              <a:solidFill>
                <a:srgbClr val="000000"/>
              </a:solidFill>
              <a:latin typeface="Gotham Book"/>
            </a:endParaRPr>
          </a:p>
          <a:p>
            <a:pPr marL="0" indent="0" defTabSz="914367">
              <a:lnSpc>
                <a:spcPct val="90000"/>
              </a:lnSpc>
              <a:spcAft>
                <a:spcPts val="333"/>
              </a:spcAft>
              <a:buFont typeface="Arial,Sans-Serif"/>
              <a:buNone/>
              <a:defRPr/>
            </a:pPr>
            <a:endParaRPr lang="en-US" dirty="0"/>
          </a:p>
          <a:p>
            <a:pPr defTabSz="914367">
              <a:lnSpc>
                <a:spcPct val="90000"/>
              </a:lnSpc>
              <a:spcAft>
                <a:spcPts val="333"/>
              </a:spcAft>
              <a:defRPr/>
            </a:pPr>
            <a:r>
              <a:rPr lang="en-US" dirty="0"/>
              <a:t>Retailers that cannot successfully leverage prescriptive product recommendations will find themselves off-boarded. Not only will they lose existing customers, they won't be able to attract new customers due to their lack of relevancy and ability to influence. </a:t>
            </a:r>
          </a:p>
          <a:p>
            <a:pPr defTabSz="914367">
              <a:lnSpc>
                <a:spcPct val="90000"/>
              </a:lnSpc>
              <a:spcAft>
                <a:spcPts val="333"/>
              </a:spcAft>
              <a:defRPr/>
            </a:pPr>
            <a:endParaRPr lang="en-US" i="1" dirty="0"/>
          </a:p>
          <a:p>
            <a:pPr defTabSz="914367">
              <a:lnSpc>
                <a:spcPct val="90000"/>
              </a:lnSpc>
              <a:spcAft>
                <a:spcPts val="333"/>
              </a:spcAft>
              <a:defRPr/>
            </a:pPr>
            <a:r>
              <a:rPr lang="en-US" i="1" dirty="0"/>
              <a:t>It's easy</a:t>
            </a:r>
            <a:r>
              <a:rPr lang="en-US" b="0" i="1" dirty="0">
                <a:effectLst/>
              </a:rPr>
              <a:t> to </a:t>
            </a:r>
            <a:r>
              <a:rPr lang="en-US" i="1" dirty="0"/>
              <a:t>see </a:t>
            </a:r>
            <a:r>
              <a:rPr lang="en-US" b="0" i="1" dirty="0">
                <a:effectLst/>
              </a:rPr>
              <a:t>the </a:t>
            </a:r>
            <a:r>
              <a:rPr lang="en-US" i="1" dirty="0"/>
              <a:t>impacts digital transformation will have on </a:t>
            </a:r>
            <a:r>
              <a:rPr lang="en-US" b="0" i="1" dirty="0">
                <a:effectLst/>
              </a:rPr>
              <a:t>retail. </a:t>
            </a:r>
            <a:r>
              <a:rPr lang="en-US" i="1" dirty="0"/>
              <a:t>But let's go further </a:t>
            </a:r>
            <a:r>
              <a:rPr lang="en-US" b="0" i="1" dirty="0">
                <a:effectLst/>
              </a:rPr>
              <a:t>and </a:t>
            </a:r>
            <a:r>
              <a:rPr lang="en-US" i="1" dirty="0"/>
              <a:t>take a look at some </a:t>
            </a:r>
            <a:r>
              <a:rPr lang="en-US" b="0" i="1" dirty="0">
                <a:effectLst/>
              </a:rPr>
              <a:t>of the </a:t>
            </a:r>
            <a:r>
              <a:rPr lang="en-US" i="1" dirty="0"/>
              <a:t>common challenges retailers are having using data today</a:t>
            </a:r>
            <a:r>
              <a:rPr lang="en-US" b="0" i="1" dirty="0">
                <a:effectLst/>
              </a:rPr>
              <a:t>.</a:t>
            </a:r>
            <a:r>
              <a:rPr lang="en-US" i="1" dirty="0"/>
              <a:t> </a:t>
            </a:r>
            <a:endParaRPr lang="en-US" dirty="0">
              <a:cs typeface="Calibri"/>
            </a:endParaRPr>
          </a:p>
          <a:p>
            <a:endParaRPr lang="en-US" dirty="0">
              <a:solidFill>
                <a:srgbClr val="0A0A0A"/>
              </a:solidFill>
              <a:latin typeface="Georgia" panose="02040502050405020303" pitchFamily="18" charset="0"/>
              <a:cs typeface="Calibri" panose="020F0502020204030204"/>
            </a:endParaRPr>
          </a:p>
          <a:p>
            <a:endParaRPr lang="en-US" sz="1200" b="1"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466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Business Outcomes</a:t>
            </a:r>
          </a:p>
          <a:p>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the next five years, all major retail will be driving in the direction of personalization as a means to give customers a better buying experience. But many companies, especially those with eCommerce as a component, are challenged to gain deeper insights into buyer preferences because of limitations on their platform or in their data. </a:t>
            </a:r>
          </a:p>
          <a:p>
            <a:pPr>
              <a:defRPr/>
            </a:pPr>
            <a:endParaRPr lang="en-US" sz="900" dirty="0">
              <a:solidFill>
                <a:srgbClr val="000000"/>
              </a:solidFill>
              <a:cs typeface="Calibri"/>
            </a:endParaRPr>
          </a:p>
          <a:p>
            <a:pPr>
              <a:defRPr/>
            </a:pPr>
            <a:r>
              <a:rPr lang="en-US" sz="800" dirty="0">
                <a:solidFill>
                  <a:srgbClr val="652D90"/>
                </a:solidFill>
                <a:cs typeface="Calibri"/>
              </a:rPr>
              <a:t>Data</a:t>
            </a:r>
            <a:r>
              <a:rPr lang="en-US" sz="800" kern="1200" dirty="0">
                <a:solidFill>
                  <a:srgbClr val="652D90"/>
                </a:solidFill>
                <a:latin typeface="+mn-lt"/>
                <a:ea typeface="+mn-ea"/>
                <a:cs typeface="+mn-cs"/>
              </a:rPr>
              <a:t> strategy needs to step out of IT and flow across all corners of your </a:t>
            </a:r>
            <a:r>
              <a:rPr lang="en-US" sz="800" dirty="0">
                <a:solidFill>
                  <a:srgbClr val="652D90"/>
                </a:solidFill>
              </a:rPr>
              <a:t>organization to provide a holistic</a:t>
            </a:r>
            <a:r>
              <a:rPr lang="en-US" sz="800" kern="1200" dirty="0">
                <a:solidFill>
                  <a:srgbClr val="652D90"/>
                </a:solidFill>
                <a:latin typeface="+mn-lt"/>
                <a:ea typeface="+mn-ea"/>
                <a:cs typeface="+mn-cs"/>
              </a:rPr>
              <a:t> </a:t>
            </a:r>
            <a:r>
              <a:rPr lang="en-US" sz="800" dirty="0">
                <a:solidFill>
                  <a:srgbClr val="652D90"/>
                </a:solidFill>
              </a:rPr>
              <a:t>view of customer information, sales data, macroeconomic influences, financial transactions, supply—everything that enables you to automate workflows, plan for future sales, proactively manage risk, and spend more time leading and innovating and less time mired in silos of disparate data. </a:t>
            </a:r>
            <a:endParaRPr lang="en-US" sz="900" dirty="0">
              <a:cs typeface="Calibri"/>
            </a:endParaRPr>
          </a:p>
          <a:p>
            <a:endParaRPr lang="en-US" sz="9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cs typeface="Calibri"/>
              </a:rPr>
              <a:t>By 2025 the top 10 retailers globally will leverage AI to facilitate </a:t>
            </a:r>
            <a:r>
              <a:rPr lang="en-US" sz="1100" dirty="0">
                <a:latin typeface="+mj-lt"/>
                <a:cs typeface="Calibri"/>
              </a:rPr>
              <a:t>prescriptive product recommendations, </a:t>
            </a:r>
            <a:r>
              <a:rPr lang="en-US" sz="1100" dirty="0">
                <a:cs typeface="Calibri"/>
              </a:rPr>
              <a:t>transaction, and forward deployment of inventory for immediate delivery. (need citation)</a:t>
            </a:r>
          </a:p>
          <a:p>
            <a:pPr>
              <a:defRPr/>
            </a:pPr>
            <a:endParaRPr lang="en-CA" sz="900" dirty="0">
              <a:solidFill>
                <a:srgbClr val="000000"/>
              </a:solidFill>
              <a:latin typeface="Calibri" panose="020F0502020204030204"/>
              <a:ea typeface="Calibri" panose="020F0502020204030204" pitchFamily="34" charset="0"/>
              <a:cs typeface="Calibri" panose="020F0502020204030204"/>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3 3: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923987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ext Steps – Transition to Tech Pit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he next step is to take a deeper dive into how it works and discuss proof of value.</a:t>
            </a:r>
          </a:p>
          <a:p>
            <a:endParaRPr lang="en-US" dirty="0"/>
          </a:p>
          <a:p>
            <a:r>
              <a:rPr lang="en-US" b="1" dirty="0"/>
              <a:t>[Field Note: </a:t>
            </a:r>
            <a:r>
              <a:rPr lang="en-US" dirty="0"/>
              <a:t>At this point, we transition from the business value discussion to a more technical portion of the deck. You may continue to walk through it with a TDM at this point or at a later date, as needed. The slide that follow will provide a demo for configuring the Accelerato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BC789-C87D-4A83-98F3-086F72DBF4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07060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2.emf"/><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069BC-E5C7-EC07-69BA-2C82EEA852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ED3B69D-52CB-21EC-FFA9-2311319499B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B2E4EBA-240D-C6B8-2917-510BAADFE243}"/>
              </a:ext>
            </a:extLst>
          </p:cNvPr>
          <p:cNvSpPr>
            <a:spLocks noGrp="1"/>
          </p:cNvSpPr>
          <p:nvPr>
            <p:ph type="dt" sz="half" idx="10"/>
          </p:nvPr>
        </p:nvSpPr>
        <p:spPr/>
        <p:txBody>
          <a:bodyPr/>
          <a:lstStyle/>
          <a:p>
            <a:fld id="{30B2FA80-C2EA-4EED-8157-E7F7C6382A87}" type="datetimeFigureOut">
              <a:rPr lang="en-US" smtClean="0"/>
              <a:t>1/19/2023</a:t>
            </a:fld>
            <a:endParaRPr lang="en-US"/>
          </a:p>
        </p:txBody>
      </p:sp>
      <p:sp>
        <p:nvSpPr>
          <p:cNvPr id="5" name="Footer Placeholder 4">
            <a:extLst>
              <a:ext uri="{FF2B5EF4-FFF2-40B4-BE49-F238E27FC236}">
                <a16:creationId xmlns:a16="http://schemas.microsoft.com/office/drawing/2014/main" id="{55C0E8D6-2084-A787-16E8-4FB4072B19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E37C05-ED74-03AF-FD74-B079D0BC4CEA}"/>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2489087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FFBE4-0400-8E0D-9433-B7F98C9A612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E6493D7-0A11-41FF-ED43-0AC88BC314A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72EBD9-764C-1F8F-EA7D-F71ED0D55CC9}"/>
              </a:ext>
            </a:extLst>
          </p:cNvPr>
          <p:cNvSpPr>
            <a:spLocks noGrp="1"/>
          </p:cNvSpPr>
          <p:nvPr>
            <p:ph type="dt" sz="half" idx="10"/>
          </p:nvPr>
        </p:nvSpPr>
        <p:spPr/>
        <p:txBody>
          <a:bodyPr/>
          <a:lstStyle/>
          <a:p>
            <a:fld id="{30B2FA80-C2EA-4EED-8157-E7F7C6382A87}" type="datetimeFigureOut">
              <a:rPr lang="en-US" smtClean="0"/>
              <a:t>1/19/2023</a:t>
            </a:fld>
            <a:endParaRPr lang="en-US"/>
          </a:p>
        </p:txBody>
      </p:sp>
      <p:sp>
        <p:nvSpPr>
          <p:cNvPr id="5" name="Footer Placeholder 4">
            <a:extLst>
              <a:ext uri="{FF2B5EF4-FFF2-40B4-BE49-F238E27FC236}">
                <a16:creationId xmlns:a16="http://schemas.microsoft.com/office/drawing/2014/main" id="{1639563B-C098-8377-245C-C9F6C8CAA1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632022-B6FA-8E68-6194-22A9ACF4C2B7}"/>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14320606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B3DD85E-E53F-DD68-1565-ABB94F16576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C51F167-0DA5-89DE-5FCE-34A67DB1290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907574-B18F-0BE7-57EF-BA35E2ABAE51}"/>
              </a:ext>
            </a:extLst>
          </p:cNvPr>
          <p:cNvSpPr>
            <a:spLocks noGrp="1"/>
          </p:cNvSpPr>
          <p:nvPr>
            <p:ph type="dt" sz="half" idx="10"/>
          </p:nvPr>
        </p:nvSpPr>
        <p:spPr/>
        <p:txBody>
          <a:bodyPr/>
          <a:lstStyle/>
          <a:p>
            <a:fld id="{30B2FA80-C2EA-4EED-8157-E7F7C6382A87}" type="datetimeFigureOut">
              <a:rPr lang="en-US" smtClean="0"/>
              <a:t>1/19/2023</a:t>
            </a:fld>
            <a:endParaRPr lang="en-US"/>
          </a:p>
        </p:txBody>
      </p:sp>
      <p:sp>
        <p:nvSpPr>
          <p:cNvPr id="5" name="Footer Placeholder 4">
            <a:extLst>
              <a:ext uri="{FF2B5EF4-FFF2-40B4-BE49-F238E27FC236}">
                <a16:creationId xmlns:a16="http://schemas.microsoft.com/office/drawing/2014/main" id="{70C649F3-A3DC-19AD-0DCF-4503A5DD4F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3997DB-18DB-2684-ADE6-61B05B21A389}"/>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37676750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 Title Slide">
    <p:spTree>
      <p:nvGrpSpPr>
        <p:cNvPr id="1" name=""/>
        <p:cNvGrpSpPr/>
        <p:nvPr/>
      </p:nvGrpSpPr>
      <p:grpSpPr>
        <a:xfrm>
          <a:off x="0" y="0"/>
          <a:ext cx="0" cy="0"/>
          <a:chOff x="0" y="0"/>
          <a:chExt cx="0" cy="0"/>
        </a:xfrm>
      </p:grpSpPr>
      <p:sp>
        <p:nvSpPr>
          <p:cNvPr id="11" name="Rectangle 8">
            <a:extLst>
              <a:ext uri="{FF2B5EF4-FFF2-40B4-BE49-F238E27FC236}">
                <a16:creationId xmlns:a16="http://schemas.microsoft.com/office/drawing/2014/main" id="{397CD009-DEFB-401C-90DB-DC235420CCD1}"/>
              </a:ext>
            </a:extLst>
          </p:cNvPr>
          <p:cNvSpPr>
            <a:spLocks noChangeArrowheads="1"/>
          </p:cNvSpPr>
          <p:nvPr userDrawn="1"/>
        </p:nvSpPr>
        <p:spPr bwMode="auto">
          <a:xfrm>
            <a:off x="1" y="16234"/>
            <a:ext cx="184731" cy="424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sz="2160"/>
          </a:p>
        </p:txBody>
      </p:sp>
      <p:sp>
        <p:nvSpPr>
          <p:cNvPr id="3" name="Freeform: Shape 2">
            <a:extLst>
              <a:ext uri="{FF2B5EF4-FFF2-40B4-BE49-F238E27FC236}">
                <a16:creationId xmlns:a16="http://schemas.microsoft.com/office/drawing/2014/main" id="{5AD3A764-AF11-728E-49B5-F6F13C5BF098}"/>
              </a:ext>
            </a:extLst>
          </p:cNvPr>
          <p:cNvSpPr/>
          <p:nvPr userDrawn="1"/>
        </p:nvSpPr>
        <p:spPr bwMode="auto">
          <a:xfrm>
            <a:off x="1" y="6555572"/>
            <a:ext cx="12473353"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 name="Picture 6" descr="A picture containing drawing&#10;&#10;Description automatically generated">
            <a:extLst>
              <a:ext uri="{FF2B5EF4-FFF2-40B4-BE49-F238E27FC236}">
                <a16:creationId xmlns:a16="http://schemas.microsoft.com/office/drawing/2014/main" id="{0828EAD0-AF60-4F40-AD1C-1E07665F0B8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8104"/>
            <a:ext cx="12192000" cy="6539779"/>
          </a:xfrm>
          <a:prstGeom prst="rect">
            <a:avLst/>
          </a:prstGeom>
        </p:spPr>
      </p:pic>
      <p:sp>
        <p:nvSpPr>
          <p:cNvPr id="12" name="Title 1">
            <a:extLst>
              <a:ext uri="{FF2B5EF4-FFF2-40B4-BE49-F238E27FC236}">
                <a16:creationId xmlns:a16="http://schemas.microsoft.com/office/drawing/2014/main" id="{4C64E8CD-DA6F-44C4-A82F-D0E229804B67}"/>
              </a:ext>
            </a:extLst>
          </p:cNvPr>
          <p:cNvSpPr>
            <a:spLocks noGrp="1"/>
          </p:cNvSpPr>
          <p:nvPr>
            <p:ph type="ctrTitle"/>
          </p:nvPr>
        </p:nvSpPr>
        <p:spPr>
          <a:xfrm>
            <a:off x="478368" y="1295400"/>
            <a:ext cx="5462280" cy="2387600"/>
          </a:xfrm>
        </p:spPr>
        <p:txBody>
          <a:bodyPr lIns="0" tIns="0" rIns="0" bIns="0" anchor="ctr"/>
          <a:lstStyle>
            <a:lvl1pPr algn="l">
              <a:lnSpc>
                <a:spcPct val="100000"/>
              </a:lnSpc>
              <a:defRPr sz="6000" b="0" strike="noStrike">
                <a:solidFill>
                  <a:srgbClr val="002060"/>
                </a:solidFill>
                <a:latin typeface="+mj-lt"/>
                <a:cs typeface="Segoe UI" panose="020B0502040204020203" pitchFamily="34" charset="0"/>
              </a:defRPr>
            </a:lvl1pPr>
          </a:lstStyle>
          <a:p>
            <a:r>
              <a:rPr lang="en-US" dirty="0"/>
              <a:t>Click to edit Master title style</a:t>
            </a:r>
          </a:p>
        </p:txBody>
      </p:sp>
      <p:sp>
        <p:nvSpPr>
          <p:cNvPr id="13" name="Subtitle 2">
            <a:extLst>
              <a:ext uri="{FF2B5EF4-FFF2-40B4-BE49-F238E27FC236}">
                <a16:creationId xmlns:a16="http://schemas.microsoft.com/office/drawing/2014/main" id="{C7BB1CEE-25B0-4B56-BDDA-7B384357C60D}"/>
              </a:ext>
            </a:extLst>
          </p:cNvPr>
          <p:cNvSpPr>
            <a:spLocks noGrp="1"/>
          </p:cNvSpPr>
          <p:nvPr>
            <p:ph type="subTitle" idx="1"/>
          </p:nvPr>
        </p:nvSpPr>
        <p:spPr>
          <a:xfrm>
            <a:off x="478368" y="4021138"/>
            <a:ext cx="5462280" cy="1655762"/>
          </a:xfrm>
        </p:spPr>
        <p:txBody>
          <a:bodyPr lIns="0" tIns="0" rIns="0" bIns="0"/>
          <a:lstStyle>
            <a:lvl1pPr marL="0" indent="0" algn="l">
              <a:buNone/>
              <a:defRPr sz="2400">
                <a:solidFill>
                  <a:schemeClr val="tx2">
                    <a:lumMod val="60000"/>
                    <a:lumOff val="40000"/>
                  </a:schemeClr>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dirty="0"/>
              <a:t>Click to edit Master subtitle style</a:t>
            </a:r>
          </a:p>
        </p:txBody>
      </p:sp>
      <p:sp>
        <p:nvSpPr>
          <p:cNvPr id="4" name="TextBox 3">
            <a:extLst>
              <a:ext uri="{FF2B5EF4-FFF2-40B4-BE49-F238E27FC236}">
                <a16:creationId xmlns:a16="http://schemas.microsoft.com/office/drawing/2014/main" id="{2E75BF57-41C7-A445-3A60-C430379FDD10}"/>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5" name="Picture 4">
            <a:extLst>
              <a:ext uri="{FF2B5EF4-FFF2-40B4-BE49-F238E27FC236}">
                <a16:creationId xmlns:a16="http://schemas.microsoft.com/office/drawing/2014/main" id="{BD9F4F91-6FC1-62A5-7E96-5458FA380E64}"/>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830683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tx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t>Name </a:t>
            </a:r>
            <a:br>
              <a:rPr lang="en-US" dirty="0"/>
            </a:br>
            <a:r>
              <a:rPr lang="en-US" sz="3600" b="1" dirty="0">
                <a:solidFill>
                  <a:schemeClr val="accent1"/>
                </a:solidFill>
                <a:latin typeface="Segoe UI Semibold" panose="020B0502040204020203" pitchFamily="34" charset="0"/>
                <a:cs typeface="Segoe UI Semibold" panose="020B0502040204020203" pitchFamily="34" charset="0"/>
              </a:rPr>
              <a:t>Solution Accelerator</a:t>
            </a:r>
            <a:endParaRPr lang="en-US" dirty="0"/>
          </a:p>
        </p:txBody>
      </p:sp>
      <p:pic>
        <p:nvPicPr>
          <p:cNvPr id="13" name="Picture 12">
            <a:extLst>
              <a:ext uri="{FF2B5EF4-FFF2-40B4-BE49-F238E27FC236}">
                <a16:creationId xmlns:a16="http://schemas.microsoft.com/office/drawing/2014/main" id="{8CE71CF9-1B34-4D38-803A-C8662AC1FF41}"/>
              </a:ext>
            </a:extLst>
          </p:cNvPr>
          <p:cNvPicPr>
            <a:picLocks noChangeAspect="1"/>
          </p:cNvPicPr>
          <p:nvPr userDrawn="1"/>
        </p:nvPicPr>
        <p:blipFill>
          <a:blip r:embed="rId3"/>
          <a:stretch>
            <a:fillRect/>
          </a:stretch>
        </p:blipFill>
        <p:spPr>
          <a:xfrm>
            <a:off x="584200" y="590929"/>
            <a:ext cx="1956594" cy="279115"/>
          </a:xfrm>
          <a:prstGeom prst="rect">
            <a:avLst/>
          </a:prstGeom>
        </p:spPr>
      </p:pic>
      <p:sp>
        <p:nvSpPr>
          <p:cNvPr id="5" name="TextBox 4">
            <a:extLst>
              <a:ext uri="{FF2B5EF4-FFF2-40B4-BE49-F238E27FC236}">
                <a16:creationId xmlns:a16="http://schemas.microsoft.com/office/drawing/2014/main" id="{BCC2A301-04AB-FC9A-3107-F352E905E1DE}"/>
              </a:ext>
            </a:extLst>
          </p:cNvPr>
          <p:cNvSpPr txBox="1"/>
          <p:nvPr userDrawn="1"/>
        </p:nvSpPr>
        <p:spPr>
          <a:xfrm>
            <a:off x="556015"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spTree>
    <p:extLst>
      <p:ext uri="{BB962C8B-B14F-4D97-AF65-F5344CB8AC3E}">
        <p14:creationId xmlns:p14="http://schemas.microsoft.com/office/powerpoint/2010/main" val="1129893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EBB9619B-C4D8-42D7-A4D3-388F6D5BB031}"/>
              </a:ext>
            </a:extLst>
          </p:cNvPr>
          <p:cNvSpPr/>
          <p:nvPr userDrawn="1"/>
        </p:nvSpPr>
        <p:spPr bwMode="auto">
          <a:xfrm>
            <a:off x="0" y="2489200"/>
            <a:ext cx="8412622" cy="1302981"/>
          </a:xfrm>
          <a:custGeom>
            <a:avLst/>
            <a:gdLst>
              <a:gd name="connsiteX0" fmla="*/ 0 w 8412622"/>
              <a:gd name="connsiteY0" fmla="*/ 0 h 1302981"/>
              <a:gd name="connsiteX1" fmla="*/ 8066198 w 8412622"/>
              <a:gd name="connsiteY1" fmla="*/ 0 h 1302981"/>
              <a:gd name="connsiteX2" fmla="*/ 8412622 w 8412622"/>
              <a:gd name="connsiteY2" fmla="*/ 651491 h 1302981"/>
              <a:gd name="connsiteX3" fmla="*/ 8066198 w 8412622"/>
              <a:gd name="connsiteY3" fmla="*/ 1302981 h 1302981"/>
              <a:gd name="connsiteX4" fmla="*/ 0 w 8412622"/>
              <a:gd name="connsiteY4" fmla="*/ 1302981 h 130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2622" h="1302981">
                <a:moveTo>
                  <a:pt x="0" y="0"/>
                </a:moveTo>
                <a:lnTo>
                  <a:pt x="8066198" y="0"/>
                </a:lnTo>
                <a:lnTo>
                  <a:pt x="8412622" y="651491"/>
                </a:lnTo>
                <a:lnTo>
                  <a:pt x="8066198" y="1302981"/>
                </a:lnTo>
                <a:lnTo>
                  <a:pt x="0" y="1302981"/>
                </a:lnTo>
                <a:close/>
              </a:path>
            </a:pathLst>
          </a:custGeom>
          <a:solidFill>
            <a:srgbClr val="4FE5FD"/>
          </a:solidFill>
          <a:ln w="3175">
            <a:solidFill>
              <a:srgbClr val="4FE5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5980D1B-DEF8-4D94-A98D-B8BD69B200F5}"/>
              </a:ext>
            </a:extLst>
          </p:cNvPr>
          <p:cNvSpPr/>
          <p:nvPr userDrawn="1"/>
        </p:nvSpPr>
        <p:spPr bwMode="auto">
          <a:xfrm>
            <a:off x="1" y="3492404"/>
            <a:ext cx="7647157" cy="1196504"/>
          </a:xfrm>
          <a:custGeom>
            <a:avLst/>
            <a:gdLst>
              <a:gd name="connsiteX0" fmla="*/ 0 w 7647157"/>
              <a:gd name="connsiteY0" fmla="*/ 0 h 1196504"/>
              <a:gd name="connsiteX1" fmla="*/ 7329042 w 7647157"/>
              <a:gd name="connsiteY1" fmla="*/ 0 h 1196504"/>
              <a:gd name="connsiteX2" fmla="*/ 7647157 w 7647157"/>
              <a:gd name="connsiteY2" fmla="*/ 598252 h 1196504"/>
              <a:gd name="connsiteX3" fmla="*/ 7329042 w 7647157"/>
              <a:gd name="connsiteY3" fmla="*/ 1196504 h 1196504"/>
              <a:gd name="connsiteX4" fmla="*/ 0 w 7647157"/>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157" h="1196504">
                <a:moveTo>
                  <a:pt x="0" y="0"/>
                </a:moveTo>
                <a:lnTo>
                  <a:pt x="7329042" y="0"/>
                </a:lnTo>
                <a:lnTo>
                  <a:pt x="7647157" y="598252"/>
                </a:lnTo>
                <a:lnTo>
                  <a:pt x="7329042" y="1196504"/>
                </a:lnTo>
                <a:lnTo>
                  <a:pt x="0" y="1196504"/>
                </a:lnTo>
                <a:close/>
              </a:path>
            </a:pathLst>
          </a:custGeom>
          <a:solidFill>
            <a:srgbClr val="3293DE"/>
          </a:solid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2821B915-5C96-4915-A724-1E05EDECA68A}"/>
              </a:ext>
            </a:extLst>
          </p:cNvPr>
          <p:cNvSpPr/>
          <p:nvPr userDrawn="1"/>
        </p:nvSpPr>
        <p:spPr bwMode="auto">
          <a:xfrm>
            <a:off x="0" y="4095908"/>
            <a:ext cx="7644366" cy="593000"/>
          </a:xfrm>
          <a:custGeom>
            <a:avLst/>
            <a:gdLst>
              <a:gd name="connsiteX0" fmla="*/ 0 w 7644366"/>
              <a:gd name="connsiteY0" fmla="*/ 0 h 593000"/>
              <a:gd name="connsiteX1" fmla="*/ 7644366 w 7644366"/>
              <a:gd name="connsiteY1" fmla="*/ 0 h 593000"/>
              <a:gd name="connsiteX2" fmla="*/ 7329043 w 7644366"/>
              <a:gd name="connsiteY2" fmla="*/ 593000 h 593000"/>
              <a:gd name="connsiteX3" fmla="*/ 0 w 7644366"/>
              <a:gd name="connsiteY3" fmla="*/ 593000 h 593000"/>
            </a:gdLst>
            <a:ahLst/>
            <a:cxnLst>
              <a:cxn ang="0">
                <a:pos x="connsiteX0" y="connsiteY0"/>
              </a:cxn>
              <a:cxn ang="0">
                <a:pos x="connsiteX1" y="connsiteY1"/>
              </a:cxn>
              <a:cxn ang="0">
                <a:pos x="connsiteX2" y="connsiteY2"/>
              </a:cxn>
              <a:cxn ang="0">
                <a:pos x="connsiteX3" y="connsiteY3"/>
              </a:cxn>
            </a:cxnLst>
            <a:rect l="l" t="t" r="r" b="b"/>
            <a:pathLst>
              <a:path w="7644366" h="593000">
                <a:moveTo>
                  <a:pt x="0" y="0"/>
                </a:moveTo>
                <a:lnTo>
                  <a:pt x="7644366" y="0"/>
                </a:lnTo>
                <a:lnTo>
                  <a:pt x="7329043" y="593000"/>
                </a:lnTo>
                <a:lnTo>
                  <a:pt x="0" y="59300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1E56DBD1-7BD3-4A85-9134-123342F6AA4E}"/>
              </a:ext>
            </a:extLst>
          </p:cNvPr>
          <p:cNvSpPr/>
          <p:nvPr userDrawn="1"/>
        </p:nvSpPr>
        <p:spPr bwMode="auto">
          <a:xfrm>
            <a:off x="0" y="3492404"/>
            <a:ext cx="7807725" cy="1196504"/>
          </a:xfrm>
          <a:custGeom>
            <a:avLst/>
            <a:gdLst>
              <a:gd name="connsiteX0" fmla="*/ 0 w 7807725"/>
              <a:gd name="connsiteY0" fmla="*/ 0 h 1196504"/>
              <a:gd name="connsiteX1" fmla="*/ 7489610 w 7807725"/>
              <a:gd name="connsiteY1" fmla="*/ 0 h 1196504"/>
              <a:gd name="connsiteX2" fmla="*/ 7807725 w 7807725"/>
              <a:gd name="connsiteY2" fmla="*/ 598252 h 1196504"/>
              <a:gd name="connsiteX3" fmla="*/ 7489610 w 7807725"/>
              <a:gd name="connsiteY3" fmla="*/ 1196504 h 1196504"/>
              <a:gd name="connsiteX4" fmla="*/ 0 w 7807725"/>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725" h="1196504">
                <a:moveTo>
                  <a:pt x="0" y="0"/>
                </a:moveTo>
                <a:lnTo>
                  <a:pt x="7489610" y="0"/>
                </a:lnTo>
                <a:lnTo>
                  <a:pt x="7807725" y="598252"/>
                </a:lnTo>
                <a:lnTo>
                  <a:pt x="7489610" y="1196504"/>
                </a:lnTo>
                <a:lnTo>
                  <a:pt x="0" y="1196504"/>
                </a:lnTo>
                <a:close/>
              </a:path>
            </a:pathLst>
          </a:custGeom>
          <a:no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94D6E39C-5C0C-4BF3-8F9A-FAB80A14ECB0}"/>
              </a:ext>
            </a:extLst>
          </p:cNvPr>
          <p:cNvSpPr/>
          <p:nvPr userDrawn="1"/>
        </p:nvSpPr>
        <p:spPr bwMode="auto">
          <a:xfrm>
            <a:off x="1" y="2767555"/>
            <a:ext cx="9003173" cy="1426694"/>
          </a:xfrm>
          <a:custGeom>
            <a:avLst/>
            <a:gdLst>
              <a:gd name="connsiteX0" fmla="*/ 0 w 9003173"/>
              <a:gd name="connsiteY0" fmla="*/ 0 h 1426694"/>
              <a:gd name="connsiteX1" fmla="*/ 8623858 w 9003173"/>
              <a:gd name="connsiteY1" fmla="*/ 0 h 1426694"/>
              <a:gd name="connsiteX2" fmla="*/ 9003173 w 9003173"/>
              <a:gd name="connsiteY2" fmla="*/ 713347 h 1426694"/>
              <a:gd name="connsiteX3" fmla="*/ 8623858 w 9003173"/>
              <a:gd name="connsiteY3" fmla="*/ 1426694 h 1426694"/>
              <a:gd name="connsiteX4" fmla="*/ 0 w 9003173"/>
              <a:gd name="connsiteY4" fmla="*/ 1426694 h 142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173" h="1426694">
                <a:moveTo>
                  <a:pt x="0" y="0"/>
                </a:moveTo>
                <a:lnTo>
                  <a:pt x="8623858" y="0"/>
                </a:lnTo>
                <a:lnTo>
                  <a:pt x="9003173" y="713347"/>
                </a:lnTo>
                <a:lnTo>
                  <a:pt x="8623858" y="1426694"/>
                </a:lnTo>
                <a:lnTo>
                  <a:pt x="0" y="1426694"/>
                </a:lnTo>
                <a:close/>
              </a:path>
            </a:pathLst>
          </a:custGeom>
          <a:solidFill>
            <a:schemeClr val="accent1"/>
          </a:solidFill>
          <a:ln w="3175">
            <a:solidFill>
              <a:srgbClr val="0078D4"/>
            </a:solidFill>
            <a:headEnd type="none" w="med" len="med"/>
            <a:tailEnd type="none" w="med" len="med"/>
          </a:ln>
          <a:effectLst>
            <a:outerShdw blurRad="508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30188F5E-D15D-406E-A0B1-09E3DCF0BBE6}"/>
              </a:ext>
            </a:extLst>
          </p:cNvPr>
          <p:cNvCxnSpPr>
            <a:cxnSpLocks/>
          </p:cNvCxnSpPr>
          <p:nvPr userDrawn="1"/>
        </p:nvCxnSpPr>
        <p:spPr>
          <a:xfrm>
            <a:off x="8225198" y="2767555"/>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03F726-0DF2-410D-81B2-8240E458BF35}"/>
              </a:ext>
            </a:extLst>
          </p:cNvPr>
          <p:cNvCxnSpPr>
            <a:cxnSpLocks/>
          </p:cNvCxnSpPr>
          <p:nvPr userDrawn="1"/>
        </p:nvCxnSpPr>
        <p:spPr>
          <a:xfrm>
            <a:off x="8225198" y="4194249"/>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39">
            <a:extLst>
              <a:ext uri="{FF2B5EF4-FFF2-40B4-BE49-F238E27FC236}">
                <a16:creationId xmlns:a16="http://schemas.microsoft.com/office/drawing/2014/main" id="{FD13E0A0-ADE6-4E94-A283-0728542CD522}"/>
              </a:ext>
            </a:extLst>
          </p:cNvPr>
          <p:cNvSpPr>
            <a:spLocks noGrp="1"/>
          </p:cNvSpPr>
          <p:nvPr>
            <p:ph type="title"/>
          </p:nvPr>
        </p:nvSpPr>
        <p:spPr>
          <a:xfrm>
            <a:off x="2189003" y="3219292"/>
            <a:ext cx="5723097" cy="523220"/>
          </a:xfrm>
        </p:spPr>
        <p:txBody>
          <a:bodyPr/>
          <a:lstStyle>
            <a:lvl1pPr marL="0" algn="l" defTabSz="914367" rtl="0" eaLnBrk="1" latinLnBrk="0" hangingPunct="1">
              <a:defRPr lang="en-US" sz="3400" b="1" kern="1200" dirty="0">
                <a:solidFill>
                  <a:schemeClr val="bg1"/>
                </a:solidFill>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15" name="Hexagon 14">
            <a:extLst>
              <a:ext uri="{FF2B5EF4-FFF2-40B4-BE49-F238E27FC236}">
                <a16:creationId xmlns:a16="http://schemas.microsoft.com/office/drawing/2014/main" id="{1537AB30-4F90-4DEB-96CE-491B398B571D}"/>
              </a:ext>
            </a:extLst>
          </p:cNvPr>
          <p:cNvSpPr/>
          <p:nvPr userDrawn="1"/>
        </p:nvSpPr>
        <p:spPr bwMode="auto">
          <a:xfrm>
            <a:off x="587297" y="2973356"/>
            <a:ext cx="1221766" cy="1015092"/>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4B7BC1B9-871F-4EBB-B5CF-97B414D8B40D}"/>
              </a:ext>
            </a:extLst>
          </p:cNvPr>
          <p:cNvSpPr/>
          <p:nvPr userDrawn="1"/>
        </p:nvSpPr>
        <p:spPr bwMode="auto">
          <a:xfrm>
            <a:off x="4068529" y="4079838"/>
            <a:ext cx="2893924" cy="227775"/>
          </a:xfrm>
          <a:prstGeom prst="hexagon">
            <a:avLst>
              <a:gd name="adj" fmla="val 26587"/>
              <a:gd name="vf" fmla="val 115470"/>
            </a:avLst>
          </a:prstGeom>
          <a:solidFill>
            <a:srgbClr val="3293DE"/>
          </a:solidFill>
          <a:ln w="3175">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84399D8F-CBFB-45DB-BD32-A87FAA0A859D}"/>
              </a:ext>
            </a:extLst>
          </p:cNvPr>
          <p:cNvSpPr/>
          <p:nvPr userDrawn="1"/>
        </p:nvSpPr>
        <p:spPr bwMode="auto">
          <a:xfrm flipH="1" flipV="1">
            <a:off x="2" y="2594589"/>
            <a:ext cx="8225197" cy="172966"/>
          </a:xfrm>
          <a:custGeom>
            <a:avLst/>
            <a:gdLst>
              <a:gd name="connsiteX0" fmla="*/ 8225197 w 8225197"/>
              <a:gd name="connsiteY0" fmla="*/ 172966 h 172966"/>
              <a:gd name="connsiteX1" fmla="*/ 165114 w 8225197"/>
              <a:gd name="connsiteY1" fmla="*/ 172966 h 172966"/>
              <a:gd name="connsiteX2" fmla="*/ 0 w 8225197"/>
              <a:gd name="connsiteY2" fmla="*/ 0 h 172966"/>
              <a:gd name="connsiteX3" fmla="*/ 8225197 w 8225197"/>
              <a:gd name="connsiteY3" fmla="*/ 0 h 172966"/>
            </a:gdLst>
            <a:ahLst/>
            <a:cxnLst>
              <a:cxn ang="0">
                <a:pos x="connsiteX0" y="connsiteY0"/>
              </a:cxn>
              <a:cxn ang="0">
                <a:pos x="connsiteX1" y="connsiteY1"/>
              </a:cxn>
              <a:cxn ang="0">
                <a:pos x="connsiteX2" y="connsiteY2"/>
              </a:cxn>
              <a:cxn ang="0">
                <a:pos x="connsiteX3" y="connsiteY3"/>
              </a:cxn>
            </a:cxnLst>
            <a:rect l="l" t="t" r="r" b="b"/>
            <a:pathLst>
              <a:path w="8225197" h="172966">
                <a:moveTo>
                  <a:pt x="8225197" y="172966"/>
                </a:moveTo>
                <a:lnTo>
                  <a:pt x="165114" y="172966"/>
                </a:lnTo>
                <a:cubicBezTo>
                  <a:pt x="69595" y="98121"/>
                  <a:pt x="24080" y="36499"/>
                  <a:pt x="0" y="0"/>
                </a:cubicBezTo>
                <a:lnTo>
                  <a:pt x="8225197" y="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 name="Picture 19" descr="A picture containing shape&#10;&#10;Description automatically generated">
            <a:extLst>
              <a:ext uri="{FF2B5EF4-FFF2-40B4-BE49-F238E27FC236}">
                <a16:creationId xmlns:a16="http://schemas.microsoft.com/office/drawing/2014/main" id="{5992D13F-E2F0-4D40-9000-901B94C5AB7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1" name="Freeform: Shape 20">
            <a:extLst>
              <a:ext uri="{FF2B5EF4-FFF2-40B4-BE49-F238E27FC236}">
                <a16:creationId xmlns:a16="http://schemas.microsoft.com/office/drawing/2014/main" id="{E55DE16F-684D-4FF0-B2FF-98A1C3BE3DD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Picture 1" descr="A picture containing text&#10;&#10;Description automatically generated">
            <a:extLst>
              <a:ext uri="{FF2B5EF4-FFF2-40B4-BE49-F238E27FC236}">
                <a16:creationId xmlns:a16="http://schemas.microsoft.com/office/drawing/2014/main" id="{6652A4D6-26ED-1ABD-1D94-48F1D7F7912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3" name="Picture 2">
            <a:extLst>
              <a:ext uri="{FF2B5EF4-FFF2-40B4-BE49-F238E27FC236}">
                <a16:creationId xmlns:a16="http://schemas.microsoft.com/office/drawing/2014/main" id="{CD789C85-BF5E-4C00-1F10-94197A1BA975}"/>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1796616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pic>
        <p:nvPicPr>
          <p:cNvPr id="5" name="Picture 4" descr="A picture containing shape&#10;&#10;Description automatically generated">
            <a:extLst>
              <a:ext uri="{FF2B5EF4-FFF2-40B4-BE49-F238E27FC236}">
                <a16:creationId xmlns:a16="http://schemas.microsoft.com/office/drawing/2014/main" id="{15761007-C6BC-48E3-9DC9-74819182CD81}"/>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8FAC7C15-06C5-4660-8396-8427A4CF302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3CD0AB7D-53A4-4C15-BFBD-A32F5CC2AB1C}"/>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BCFF6AB5-71AB-E61D-D3C2-B4F1E9C52BFE}"/>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201609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DA3C61CA-D13B-4ECB-B1FB-04AF0BCFF94D}"/>
              </a:ext>
            </a:extLst>
          </p:cNvPr>
          <p:cNvSpPr>
            <a:spLocks noGrp="1"/>
          </p:cNvSpPr>
          <p:nvPr>
            <p:ph sz="quarter" idx="10"/>
          </p:nvPr>
        </p:nvSpPr>
        <p:spPr>
          <a:xfrm>
            <a:off x="588263" y="1756229"/>
            <a:ext cx="11018520" cy="4512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shape&#10;&#10;Description automatically generated">
            <a:extLst>
              <a:ext uri="{FF2B5EF4-FFF2-40B4-BE49-F238E27FC236}">
                <a16:creationId xmlns:a16="http://schemas.microsoft.com/office/drawing/2014/main" id="{60CF04FC-2E24-4DAF-A621-988449F4EC60}"/>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 name="TextBox 1">
            <a:extLst>
              <a:ext uri="{FF2B5EF4-FFF2-40B4-BE49-F238E27FC236}">
                <a16:creationId xmlns:a16="http://schemas.microsoft.com/office/drawing/2014/main" id="{203A62DC-5F75-21A8-1B47-FA87E0C5EB46}"/>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170B2D09-B08C-8B8F-1ADC-458DF8A7622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7346570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026725"/>
            <a:ext cx="11018520" cy="276999"/>
          </a:xfrm>
        </p:spPr>
        <p:txBody>
          <a:bodyPr/>
          <a:lstStyle>
            <a:lvl1pPr marL="0" indent="0" algn="l" defTabSz="932742" rtl="0" eaLnBrk="1" latinLnBrk="0" hangingPunct="1">
              <a:lnSpc>
                <a:spcPct val="100000"/>
              </a:lnSpc>
              <a:spcBef>
                <a:spcPct val="0"/>
              </a:spcBef>
              <a:buNone/>
              <a:defRPr lang="en-US" sz="1800" b="0" kern="1200" cap="none" spc="0" baseline="0" dirty="0">
                <a:ln w="3175">
                  <a:noFill/>
                </a:ln>
                <a:solidFill>
                  <a:schemeClr val="tx1"/>
                </a:solidFill>
                <a:effectLst/>
                <a:latin typeface="+mn-lt"/>
                <a:ea typeface="+mn-ea"/>
                <a:cs typeface="Segoe UI" pitchFamily="34" charset="0"/>
              </a:defRPr>
            </a:lvl1pPr>
          </a:lstStyle>
          <a:p>
            <a:pPr lvl="0"/>
            <a:endParaRPr lang="en-US"/>
          </a:p>
        </p:txBody>
      </p:sp>
      <p:pic>
        <p:nvPicPr>
          <p:cNvPr id="5" name="Picture 4" descr="A picture containing shape&#10;&#10;Description automatically generated">
            <a:extLst>
              <a:ext uri="{FF2B5EF4-FFF2-40B4-BE49-F238E27FC236}">
                <a16:creationId xmlns:a16="http://schemas.microsoft.com/office/drawing/2014/main" id="{B3DD69B6-8C24-4FF4-8A72-78F0D5F3958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D8BDF698-75A5-4002-83ED-319EB437B9BF}"/>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EDBDE4C-0E61-7932-800E-4EE523EDCE4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9" name="Picture 8" descr="A picture containing text&#10;&#10;Description automatically generated">
            <a:extLst>
              <a:ext uri="{FF2B5EF4-FFF2-40B4-BE49-F238E27FC236}">
                <a16:creationId xmlns:a16="http://schemas.microsoft.com/office/drawing/2014/main" id="{0C82F10C-1B4A-0C4F-27F8-05976B44BB4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0" name="Picture 9">
            <a:extLst>
              <a:ext uri="{FF2B5EF4-FFF2-40B4-BE49-F238E27FC236}">
                <a16:creationId xmlns:a16="http://schemas.microsoft.com/office/drawing/2014/main" id="{B861A381-D49E-39DA-92CD-30BABD7361D0}"/>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6321187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 with Blue Bar">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98BEC2-828D-4136-B933-F6F4896B7971}"/>
              </a:ext>
            </a:extLst>
          </p:cNvPr>
          <p:cNvSpPr/>
          <p:nvPr userDrawn="1"/>
        </p:nvSpPr>
        <p:spPr bwMode="auto">
          <a:xfrm>
            <a:off x="0" y="0"/>
            <a:ext cx="12192000" cy="1981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8375BB5A-A460-462D-9B83-EC5D3F2BD096}"/>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967F30EC-60C6-4F5D-BE2C-C96287F13F3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3A465B31-46B4-93F4-DF5D-C5A159B78865}"/>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descr="A picture containing text&#10;&#10;Description automatically generated">
            <a:extLst>
              <a:ext uri="{FF2B5EF4-FFF2-40B4-BE49-F238E27FC236}">
                <a16:creationId xmlns:a16="http://schemas.microsoft.com/office/drawing/2014/main" id="{5688BDF1-23DA-28A0-0524-D4E007639E3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1" name="Picture 10">
            <a:extLst>
              <a:ext uri="{FF2B5EF4-FFF2-40B4-BE49-F238E27FC236}">
                <a16:creationId xmlns:a16="http://schemas.microsoft.com/office/drawing/2014/main" id="{B8AE835E-E1CE-E921-B6A4-B50C98811C36}"/>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38506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 with Image Overlay">
    <p:bg>
      <p:bgRef idx="1001">
        <a:schemeClr val="bg1"/>
      </p:bgRef>
    </p:bg>
    <p:spTree>
      <p:nvGrpSpPr>
        <p:cNvPr id="1" name=""/>
        <p:cNvGrpSpPr/>
        <p:nvPr/>
      </p:nvGrpSpPr>
      <p:grpSpPr>
        <a:xfrm>
          <a:off x="0" y="0"/>
          <a:ext cx="0" cy="0"/>
          <a:chOff x="0" y="0"/>
          <a:chExt cx="0" cy="0"/>
        </a:xfrm>
      </p:grpSpPr>
      <p:pic>
        <p:nvPicPr>
          <p:cNvPr id="9" name="Picture 8" descr="A group of people sitting at a desk with computers&#10;&#10;Description automatically generated with low confidence">
            <a:extLst>
              <a:ext uri="{FF2B5EF4-FFF2-40B4-BE49-F238E27FC236}">
                <a16:creationId xmlns:a16="http://schemas.microsoft.com/office/drawing/2014/main" id="{83E06CA4-274D-4C4B-BC9A-A8768E3E112F}"/>
              </a:ext>
            </a:extLst>
          </p:cNvPr>
          <p:cNvPicPr>
            <a:picLocks/>
          </p:cNvPicPr>
          <p:nvPr/>
        </p:nvPicPr>
        <p:blipFill rotWithShape="1">
          <a:blip r:embed="rId2"/>
          <a:srcRect t="18525" b="33533"/>
          <a:stretch/>
        </p:blipFill>
        <p:spPr>
          <a:xfrm>
            <a:off x="0" y="1"/>
            <a:ext cx="12192000" cy="3042731"/>
          </a:xfrm>
          <a:prstGeom prst="rect">
            <a:avLst/>
          </a:prstGeom>
        </p:spPr>
      </p:pic>
      <p:sp>
        <p:nvSpPr>
          <p:cNvPr id="10" name="Rectangle 9">
            <a:extLst>
              <a:ext uri="{FF2B5EF4-FFF2-40B4-BE49-F238E27FC236}">
                <a16:creationId xmlns:a16="http://schemas.microsoft.com/office/drawing/2014/main" id="{D2D8E0FA-7677-4D77-BE3C-2AEC12DACAE6}"/>
              </a:ext>
            </a:extLst>
          </p:cNvPr>
          <p:cNvSpPr/>
          <p:nvPr/>
        </p:nvSpPr>
        <p:spPr bwMode="auto">
          <a:xfrm>
            <a:off x="0" y="1"/>
            <a:ext cx="12192000" cy="3048017"/>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userDrawn="1">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userDrawn="1">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AD7F6615-AD50-4929-8C29-AC0CD149D531}"/>
              </a:ext>
            </a:extLst>
          </p:cNvPr>
          <p:cNvPicPr>
            <a:picLocks noChangeAspect="1"/>
          </p:cNvPicPr>
          <p:nvPr userDrawn="1"/>
        </p:nvPicPr>
        <p:blipFill rotWithShape="1">
          <a:blip r:embed="rId3"/>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D5B6CD6F-FF22-450E-9D7B-C98BCCCDBF4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B077ECA-492B-C080-4FA3-B9D24288C6C3}"/>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3" name="Picture 2" descr="A picture containing text&#10;&#10;Description automatically generated">
            <a:extLst>
              <a:ext uri="{FF2B5EF4-FFF2-40B4-BE49-F238E27FC236}">
                <a16:creationId xmlns:a16="http://schemas.microsoft.com/office/drawing/2014/main" id="{A7B9249E-A57E-5BC8-E46D-5D55E412909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4" name="Picture 3">
            <a:extLst>
              <a:ext uri="{FF2B5EF4-FFF2-40B4-BE49-F238E27FC236}">
                <a16:creationId xmlns:a16="http://schemas.microsoft.com/office/drawing/2014/main" id="{C6C933EE-EAD1-7F0A-9111-5346B6C919CD}"/>
              </a:ext>
            </a:extLst>
          </p:cNvPr>
          <p:cNvPicPr>
            <a:picLocks noChangeAspect="1"/>
          </p:cNvPicPr>
          <p:nvPr userDrawn="1"/>
        </p:nvPicPr>
        <p:blipFill>
          <a:blip r:embed="rId5"/>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19104619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7DD7F-63E4-536D-A981-084D0B6E0F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5895522-92A2-6B32-9EB2-09D74C838E7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51257D-1FEB-37B1-6804-41BCA20E532D}"/>
              </a:ext>
            </a:extLst>
          </p:cNvPr>
          <p:cNvSpPr>
            <a:spLocks noGrp="1"/>
          </p:cNvSpPr>
          <p:nvPr>
            <p:ph type="dt" sz="half" idx="10"/>
          </p:nvPr>
        </p:nvSpPr>
        <p:spPr/>
        <p:txBody>
          <a:bodyPr/>
          <a:lstStyle/>
          <a:p>
            <a:fld id="{30B2FA80-C2EA-4EED-8157-E7F7C6382A87}" type="datetimeFigureOut">
              <a:rPr lang="en-US" smtClean="0"/>
              <a:t>1/19/2023</a:t>
            </a:fld>
            <a:endParaRPr lang="en-US"/>
          </a:p>
        </p:txBody>
      </p:sp>
      <p:sp>
        <p:nvSpPr>
          <p:cNvPr id="5" name="Footer Placeholder 4">
            <a:extLst>
              <a:ext uri="{FF2B5EF4-FFF2-40B4-BE49-F238E27FC236}">
                <a16:creationId xmlns:a16="http://schemas.microsoft.com/office/drawing/2014/main" id="{AE616D8E-CCE4-0315-DED7-9C5D231DC8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FE6804-A780-E1BE-D092-B4D94FFC2673}"/>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7841034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 with 3-columns">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tx1"/>
                </a:solidFill>
                <a:effectLst/>
                <a:latin typeface="+mn-lt"/>
                <a:ea typeface="+mn-ea"/>
                <a:cs typeface="Segoe UI" pitchFamily="34" charset="0"/>
              </a:defRPr>
            </a:lvl1pPr>
          </a:lstStyle>
          <a:p>
            <a:pPr lvl="0"/>
            <a:endParaRPr lang="en-US"/>
          </a:p>
        </p:txBody>
      </p:sp>
      <p:sp>
        <p:nvSpPr>
          <p:cNvPr id="7" name="Hexagon 6">
            <a:extLst>
              <a:ext uri="{FF2B5EF4-FFF2-40B4-BE49-F238E27FC236}">
                <a16:creationId xmlns:a16="http://schemas.microsoft.com/office/drawing/2014/main" id="{130A13A5-ECE2-4CFF-8B3B-1CACA82A2645}"/>
              </a:ext>
            </a:extLst>
          </p:cNvPr>
          <p:cNvSpPr/>
          <p:nvPr userDrawn="1"/>
        </p:nvSpPr>
        <p:spPr bwMode="auto">
          <a:xfrm>
            <a:off x="588263"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7DE9BC71-4459-4F83-B6B3-DF46D2B192DA}"/>
              </a:ext>
            </a:extLst>
          </p:cNvPr>
          <p:cNvSpPr/>
          <p:nvPr userDrawn="1"/>
        </p:nvSpPr>
        <p:spPr bwMode="auto">
          <a:xfrm>
            <a:off x="4346996"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EC355D75-D4C8-4C52-B5C1-F3A3AFEF4646}"/>
              </a:ext>
            </a:extLst>
          </p:cNvPr>
          <p:cNvSpPr/>
          <p:nvPr userDrawn="1"/>
        </p:nvSpPr>
        <p:spPr bwMode="auto">
          <a:xfrm>
            <a:off x="8105728"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75EAEAF-58A3-480F-9A1F-392986AB3A7E}"/>
              </a:ext>
            </a:extLst>
          </p:cNvPr>
          <p:cNvSpPr>
            <a:spLocks noGrp="1"/>
          </p:cNvSpPr>
          <p:nvPr>
            <p:ph type="body" sz="quarter" idx="13"/>
          </p:nvPr>
        </p:nvSpPr>
        <p:spPr>
          <a:xfrm>
            <a:off x="588263"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FD3B93B2-E986-4264-9106-C5019ECC0DE0}"/>
              </a:ext>
            </a:extLst>
          </p:cNvPr>
          <p:cNvSpPr>
            <a:spLocks noGrp="1"/>
          </p:cNvSpPr>
          <p:nvPr>
            <p:ph type="body" sz="quarter" idx="14"/>
          </p:nvPr>
        </p:nvSpPr>
        <p:spPr>
          <a:xfrm>
            <a:off x="4346996"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B945A621-104B-4D26-8EEB-62C61A3F1ACD}"/>
              </a:ext>
            </a:extLst>
          </p:cNvPr>
          <p:cNvSpPr>
            <a:spLocks noGrp="1"/>
          </p:cNvSpPr>
          <p:nvPr>
            <p:ph type="body" sz="quarter" idx="15"/>
          </p:nvPr>
        </p:nvSpPr>
        <p:spPr>
          <a:xfrm>
            <a:off x="8105728"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F8E9FA9E-5B47-49D1-A345-179AFD893438}"/>
              </a:ext>
            </a:extLst>
          </p:cNvPr>
          <p:cNvCxnSpPr>
            <a:cxnSpLocks/>
          </p:cNvCxnSpPr>
          <p:nvPr userDrawn="1"/>
        </p:nvCxnSpPr>
        <p:spPr>
          <a:xfrm>
            <a:off x="4217136" y="3421802"/>
            <a:ext cx="0" cy="276128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F4C75B-2AED-4ECC-9654-CBCEA419D87B}"/>
              </a:ext>
            </a:extLst>
          </p:cNvPr>
          <p:cNvCxnSpPr>
            <a:cxnSpLocks/>
          </p:cNvCxnSpPr>
          <p:nvPr userDrawn="1"/>
        </p:nvCxnSpPr>
        <p:spPr>
          <a:xfrm>
            <a:off x="7975869" y="3426106"/>
            <a:ext cx="0" cy="28495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39ED39AA-F171-4895-9D5D-D3B3E61F8AC5}"/>
              </a:ext>
            </a:extLst>
          </p:cNvPr>
          <p:cNvSpPr>
            <a:spLocks noGrp="1"/>
          </p:cNvSpPr>
          <p:nvPr>
            <p:ph type="body" sz="quarter" idx="16" hasCustomPrompt="1"/>
          </p:nvPr>
        </p:nvSpPr>
        <p:spPr>
          <a:xfrm>
            <a:off x="588263" y="3059120"/>
            <a:ext cx="3499013" cy="276999"/>
          </a:xfrm>
        </p:spPr>
        <p:txBody>
          <a:bodyPr anchor="b"/>
          <a:lstStyle>
            <a:lvl1pPr marL="0" indent="0">
              <a:buFont typeface="Arial" panose="020B0604020202020204" pitchFamily="34" charset="0"/>
              <a:buNone/>
              <a:defRPr sz="1800">
                <a:solidFill>
                  <a:schemeClr val="accent1"/>
                </a:solidFill>
                <a:latin typeface="+mj-lt"/>
              </a:defRPr>
            </a:lvl1pPr>
          </a:lstStyle>
          <a:p>
            <a:pPr lvl="0"/>
            <a:r>
              <a:rPr lang="en-US"/>
              <a:t>Title goes here</a:t>
            </a:r>
          </a:p>
        </p:txBody>
      </p:sp>
      <p:sp>
        <p:nvSpPr>
          <p:cNvPr id="29" name="Text Placeholder 27">
            <a:extLst>
              <a:ext uri="{FF2B5EF4-FFF2-40B4-BE49-F238E27FC236}">
                <a16:creationId xmlns:a16="http://schemas.microsoft.com/office/drawing/2014/main" id="{B85D0F05-2A12-4A36-ADD2-848D8DBFE499}"/>
              </a:ext>
            </a:extLst>
          </p:cNvPr>
          <p:cNvSpPr>
            <a:spLocks noGrp="1"/>
          </p:cNvSpPr>
          <p:nvPr>
            <p:ph type="body" sz="quarter" idx="17" hasCustomPrompt="1"/>
          </p:nvPr>
        </p:nvSpPr>
        <p:spPr>
          <a:xfrm>
            <a:off x="4346996"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sp>
        <p:nvSpPr>
          <p:cNvPr id="30" name="Text Placeholder 27">
            <a:extLst>
              <a:ext uri="{FF2B5EF4-FFF2-40B4-BE49-F238E27FC236}">
                <a16:creationId xmlns:a16="http://schemas.microsoft.com/office/drawing/2014/main" id="{ECFCBFC1-4084-44D6-B183-5BC6A9C74608}"/>
              </a:ext>
            </a:extLst>
          </p:cNvPr>
          <p:cNvSpPr>
            <a:spLocks noGrp="1"/>
          </p:cNvSpPr>
          <p:nvPr>
            <p:ph type="body" sz="quarter" idx="18" hasCustomPrompt="1"/>
          </p:nvPr>
        </p:nvSpPr>
        <p:spPr>
          <a:xfrm>
            <a:off x="8105728"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pic>
        <p:nvPicPr>
          <p:cNvPr id="21" name="Picture 20" descr="A picture containing shape&#10;&#10;Description automatically generated">
            <a:extLst>
              <a:ext uri="{FF2B5EF4-FFF2-40B4-BE49-F238E27FC236}">
                <a16:creationId xmlns:a16="http://schemas.microsoft.com/office/drawing/2014/main" id="{EAE19109-8860-4F6C-A660-2C94EF10A4C4}"/>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2" name="Freeform: Shape 21">
            <a:extLst>
              <a:ext uri="{FF2B5EF4-FFF2-40B4-BE49-F238E27FC236}">
                <a16:creationId xmlns:a16="http://schemas.microsoft.com/office/drawing/2014/main" id="{58BBDE26-EBE3-4041-9759-70AE9566AA8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5BF00EFF-2902-75F8-6E01-E8246E8DC8F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6" name="Picture 5" descr="A picture containing text&#10;&#10;Description automatically generated">
            <a:extLst>
              <a:ext uri="{FF2B5EF4-FFF2-40B4-BE49-F238E27FC236}">
                <a16:creationId xmlns:a16="http://schemas.microsoft.com/office/drawing/2014/main" id="{39EF98F2-FD97-BE04-ED71-B085DF86736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0" name="Picture 9">
            <a:extLst>
              <a:ext uri="{FF2B5EF4-FFF2-40B4-BE49-F238E27FC236}">
                <a16:creationId xmlns:a16="http://schemas.microsoft.com/office/drawing/2014/main" id="{CAB247A8-2AAD-7E54-46E8-FCCBA143AF82}"/>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385621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7C69AA8-B817-4CCD-9711-9112D6D3574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4" name="Freeform: Shape 3">
            <a:extLst>
              <a:ext uri="{FF2B5EF4-FFF2-40B4-BE49-F238E27FC236}">
                <a16:creationId xmlns:a16="http://schemas.microsoft.com/office/drawing/2014/main" id="{3486760C-0BBF-401B-ACD5-D91C7A51FEFD}"/>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25EED1F-C714-5B80-07F2-2808A689B0F1}"/>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5" name="Picture 4" descr="A picture containing text&#10;&#10;Description automatically generated">
            <a:extLst>
              <a:ext uri="{FF2B5EF4-FFF2-40B4-BE49-F238E27FC236}">
                <a16:creationId xmlns:a16="http://schemas.microsoft.com/office/drawing/2014/main" id="{96B9A934-D9EB-8E3A-925A-366A82F7E37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7" name="Picture 6">
            <a:extLst>
              <a:ext uri="{FF2B5EF4-FFF2-40B4-BE49-F238E27FC236}">
                <a16:creationId xmlns:a16="http://schemas.microsoft.com/office/drawing/2014/main" id="{25CD848A-B61C-4B21-8680-1DEF704C2FA4}"/>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2680365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ternal slide">
    <p:bg>
      <p:bgPr>
        <a:solidFill>
          <a:schemeClr val="tx1"/>
        </a:solidFill>
        <a:effectLst/>
      </p:bgPr>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48752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1"/>
      </p:bgRef>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33AECBDA-7428-4A39-9FC3-6FB5C6542F77}"/>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Rectangle 7">
            <a:extLst>
              <a:ext uri="{FF2B5EF4-FFF2-40B4-BE49-F238E27FC236}">
                <a16:creationId xmlns:a16="http://schemas.microsoft.com/office/drawing/2014/main" id="{9637F3BC-597F-4575-852C-08E771CAB05D}"/>
              </a:ext>
            </a:extLst>
          </p:cNvPr>
          <p:cNvSpPr/>
          <p:nvPr userDrawn="1"/>
        </p:nvSpPr>
        <p:spPr bwMode="auto">
          <a:xfrm>
            <a:off x="0" y="5943600"/>
            <a:ext cx="12188952" cy="914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 name="Picture 9" descr="Background pattern&#10;&#10;Description automatically generated">
            <a:extLst>
              <a:ext uri="{FF2B5EF4-FFF2-40B4-BE49-F238E27FC236}">
                <a16:creationId xmlns:a16="http://schemas.microsoft.com/office/drawing/2014/main" id="{25A73C4B-FF4D-44B8-ACC0-EF67A956FE3C}"/>
              </a:ext>
            </a:extLst>
          </p:cNvPr>
          <p:cNvPicPr>
            <a:picLocks noChangeAspect="1"/>
          </p:cNvPicPr>
          <p:nvPr userDrawn="1"/>
        </p:nvPicPr>
        <p:blipFill rotWithShape="1">
          <a:blip r:embed="rId3"/>
          <a:srcRect l="769" t="265" r="256" b="758"/>
          <a:stretch/>
        </p:blipFill>
        <p:spPr>
          <a:xfrm>
            <a:off x="0" y="0"/>
            <a:ext cx="12192000" cy="6858000"/>
          </a:xfrm>
          <a:prstGeom prst="rect">
            <a:avLst/>
          </a:prstGeom>
        </p:spPr>
      </p:pic>
      <p:sp>
        <p:nvSpPr>
          <p:cNvPr id="11" name="Title 10">
            <a:extLst>
              <a:ext uri="{FF2B5EF4-FFF2-40B4-BE49-F238E27FC236}">
                <a16:creationId xmlns:a16="http://schemas.microsoft.com/office/drawing/2014/main" id="{063E66AE-A766-43C5-A305-5AC9EC59F6D4}"/>
              </a:ext>
            </a:extLst>
          </p:cNvPr>
          <p:cNvSpPr>
            <a:spLocks noGrp="1"/>
          </p:cNvSpPr>
          <p:nvPr>
            <p:ph type="title" hasCustomPrompt="1"/>
          </p:nvPr>
        </p:nvSpPr>
        <p:spPr>
          <a:xfrm>
            <a:off x="588263" y="3152001"/>
            <a:ext cx="2120581" cy="553998"/>
          </a:xfrm>
        </p:spPr>
        <p:txBody>
          <a:bodyPr wrap="none" anchor="ctr"/>
          <a:lstStyle>
            <a:lvl1pPr>
              <a:defRPr/>
            </a:lvl1pPr>
          </a:lstStyle>
          <a:p>
            <a:r>
              <a:rPr lang="en-US"/>
              <a:t>Thank you</a:t>
            </a:r>
          </a:p>
        </p:txBody>
      </p:sp>
    </p:spTree>
    <p:extLst>
      <p:ext uri="{BB962C8B-B14F-4D97-AF65-F5344CB8AC3E}">
        <p14:creationId xmlns:p14="http://schemas.microsoft.com/office/powerpoint/2010/main" val="8623721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AEF23-5D54-F215-92B5-71040AE1DAB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D4E1664-0EA6-EC47-1EE4-B21EF1E32EC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5DA33E5-2011-591C-F261-EA9B98EAE04E}"/>
              </a:ext>
            </a:extLst>
          </p:cNvPr>
          <p:cNvSpPr>
            <a:spLocks noGrp="1"/>
          </p:cNvSpPr>
          <p:nvPr>
            <p:ph type="dt" sz="half" idx="10"/>
          </p:nvPr>
        </p:nvSpPr>
        <p:spPr/>
        <p:txBody>
          <a:bodyPr/>
          <a:lstStyle/>
          <a:p>
            <a:fld id="{30B2FA80-C2EA-4EED-8157-E7F7C6382A87}" type="datetimeFigureOut">
              <a:rPr lang="en-US" smtClean="0"/>
              <a:t>1/19/2023</a:t>
            </a:fld>
            <a:endParaRPr lang="en-US"/>
          </a:p>
        </p:txBody>
      </p:sp>
      <p:sp>
        <p:nvSpPr>
          <p:cNvPr id="5" name="Footer Placeholder 4">
            <a:extLst>
              <a:ext uri="{FF2B5EF4-FFF2-40B4-BE49-F238E27FC236}">
                <a16:creationId xmlns:a16="http://schemas.microsoft.com/office/drawing/2014/main" id="{CAE62615-6156-B821-55F1-58128C0403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E98BB4-738C-2423-5080-B78E25F75470}"/>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27462527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4BA53-973F-39C4-E789-2AB9D02C8D0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CCC461-A371-CA93-86C9-A5E4AACDF3E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CFB5E7-6A07-4E33-0F00-98823B92E8F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B71EE90-9D09-3A57-F35B-6D25CC702F69}"/>
              </a:ext>
            </a:extLst>
          </p:cNvPr>
          <p:cNvSpPr>
            <a:spLocks noGrp="1"/>
          </p:cNvSpPr>
          <p:nvPr>
            <p:ph type="dt" sz="half" idx="10"/>
          </p:nvPr>
        </p:nvSpPr>
        <p:spPr/>
        <p:txBody>
          <a:bodyPr/>
          <a:lstStyle/>
          <a:p>
            <a:fld id="{30B2FA80-C2EA-4EED-8157-E7F7C6382A87}" type="datetimeFigureOut">
              <a:rPr lang="en-US" smtClean="0"/>
              <a:t>1/19/2023</a:t>
            </a:fld>
            <a:endParaRPr lang="en-US"/>
          </a:p>
        </p:txBody>
      </p:sp>
      <p:sp>
        <p:nvSpPr>
          <p:cNvPr id="6" name="Footer Placeholder 5">
            <a:extLst>
              <a:ext uri="{FF2B5EF4-FFF2-40B4-BE49-F238E27FC236}">
                <a16:creationId xmlns:a16="http://schemas.microsoft.com/office/drawing/2014/main" id="{08445530-1039-B0A7-BF07-217E3D2851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B312F6-152A-E8D6-DCD5-4E64D375A4AC}"/>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1078321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A661C4-4496-D459-28AE-D5618872DC4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2089EF1-6413-2E5B-580A-105A1067200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9912B5-B312-89D1-3E6D-AC0005F40D8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F7B37A4-8653-18CF-A61A-AA755D701CE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5A85A12-AF97-2317-D8BB-EBDC516A671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AB99AFE-9A38-B2C1-CABE-1C2BE479BBE9}"/>
              </a:ext>
            </a:extLst>
          </p:cNvPr>
          <p:cNvSpPr>
            <a:spLocks noGrp="1"/>
          </p:cNvSpPr>
          <p:nvPr>
            <p:ph type="dt" sz="half" idx="10"/>
          </p:nvPr>
        </p:nvSpPr>
        <p:spPr/>
        <p:txBody>
          <a:bodyPr/>
          <a:lstStyle/>
          <a:p>
            <a:fld id="{30B2FA80-C2EA-4EED-8157-E7F7C6382A87}" type="datetimeFigureOut">
              <a:rPr lang="en-US" smtClean="0"/>
              <a:t>1/19/2023</a:t>
            </a:fld>
            <a:endParaRPr lang="en-US"/>
          </a:p>
        </p:txBody>
      </p:sp>
      <p:sp>
        <p:nvSpPr>
          <p:cNvPr id="8" name="Footer Placeholder 7">
            <a:extLst>
              <a:ext uri="{FF2B5EF4-FFF2-40B4-BE49-F238E27FC236}">
                <a16:creationId xmlns:a16="http://schemas.microsoft.com/office/drawing/2014/main" id="{08CB9D13-AF8C-4121-1A7F-A297711D15D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C72ADA3-5779-612C-65D2-E0513F9D984F}"/>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13470864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352BB-BC7E-9890-CC47-724D2A7D2C5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9DA9246-9920-C231-1484-A1860465A375}"/>
              </a:ext>
            </a:extLst>
          </p:cNvPr>
          <p:cNvSpPr>
            <a:spLocks noGrp="1"/>
          </p:cNvSpPr>
          <p:nvPr>
            <p:ph type="dt" sz="half" idx="10"/>
          </p:nvPr>
        </p:nvSpPr>
        <p:spPr/>
        <p:txBody>
          <a:bodyPr/>
          <a:lstStyle/>
          <a:p>
            <a:fld id="{30B2FA80-C2EA-4EED-8157-E7F7C6382A87}" type="datetimeFigureOut">
              <a:rPr lang="en-US" smtClean="0"/>
              <a:t>1/19/2023</a:t>
            </a:fld>
            <a:endParaRPr lang="en-US"/>
          </a:p>
        </p:txBody>
      </p:sp>
      <p:sp>
        <p:nvSpPr>
          <p:cNvPr id="4" name="Footer Placeholder 3">
            <a:extLst>
              <a:ext uri="{FF2B5EF4-FFF2-40B4-BE49-F238E27FC236}">
                <a16:creationId xmlns:a16="http://schemas.microsoft.com/office/drawing/2014/main" id="{676988DA-9DA3-77F5-1565-B03E69671A7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AAF5A8C-4068-B888-42E0-95F5644ED40A}"/>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1657653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66C069-2FB0-D148-6B9E-597A03E315F2}"/>
              </a:ext>
            </a:extLst>
          </p:cNvPr>
          <p:cNvSpPr>
            <a:spLocks noGrp="1"/>
          </p:cNvSpPr>
          <p:nvPr>
            <p:ph type="dt" sz="half" idx="10"/>
          </p:nvPr>
        </p:nvSpPr>
        <p:spPr/>
        <p:txBody>
          <a:bodyPr/>
          <a:lstStyle/>
          <a:p>
            <a:fld id="{30B2FA80-C2EA-4EED-8157-E7F7C6382A87}" type="datetimeFigureOut">
              <a:rPr lang="en-US" smtClean="0"/>
              <a:t>1/19/2023</a:t>
            </a:fld>
            <a:endParaRPr lang="en-US"/>
          </a:p>
        </p:txBody>
      </p:sp>
      <p:sp>
        <p:nvSpPr>
          <p:cNvPr id="3" name="Footer Placeholder 2">
            <a:extLst>
              <a:ext uri="{FF2B5EF4-FFF2-40B4-BE49-F238E27FC236}">
                <a16:creationId xmlns:a16="http://schemas.microsoft.com/office/drawing/2014/main" id="{7C703084-199E-2349-7680-FB53F135A8C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7B92A21-CA8C-DAB7-A98B-167AF8CCB254}"/>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4990719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57F2C-D471-7DB9-FE14-D50290FEA8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7A858A8-D77F-0F82-0888-8EC77D45BE5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7313069-1E65-1FC7-04A7-E2A16D5464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20D0A26-B31C-5507-C737-C6A857FA7004}"/>
              </a:ext>
            </a:extLst>
          </p:cNvPr>
          <p:cNvSpPr>
            <a:spLocks noGrp="1"/>
          </p:cNvSpPr>
          <p:nvPr>
            <p:ph type="dt" sz="half" idx="10"/>
          </p:nvPr>
        </p:nvSpPr>
        <p:spPr/>
        <p:txBody>
          <a:bodyPr/>
          <a:lstStyle/>
          <a:p>
            <a:fld id="{30B2FA80-C2EA-4EED-8157-E7F7C6382A87}" type="datetimeFigureOut">
              <a:rPr lang="en-US" smtClean="0"/>
              <a:t>1/19/2023</a:t>
            </a:fld>
            <a:endParaRPr lang="en-US"/>
          </a:p>
        </p:txBody>
      </p:sp>
      <p:sp>
        <p:nvSpPr>
          <p:cNvPr id="6" name="Footer Placeholder 5">
            <a:extLst>
              <a:ext uri="{FF2B5EF4-FFF2-40B4-BE49-F238E27FC236}">
                <a16:creationId xmlns:a16="http://schemas.microsoft.com/office/drawing/2014/main" id="{38968FDB-1B09-1BB3-9E5F-438C0B54B03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8EF135-93EE-B6AC-77F4-3EC5F1DDADB9}"/>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34556111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33741-9743-A076-7422-13D9584434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24C09AF-271F-10A7-55EC-3F2FD1C660C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674973-C944-EA50-E8AD-37F76D73675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8D670EB-36E5-D2E3-6490-EE06E1D4366E}"/>
              </a:ext>
            </a:extLst>
          </p:cNvPr>
          <p:cNvSpPr>
            <a:spLocks noGrp="1"/>
          </p:cNvSpPr>
          <p:nvPr>
            <p:ph type="dt" sz="half" idx="10"/>
          </p:nvPr>
        </p:nvSpPr>
        <p:spPr/>
        <p:txBody>
          <a:bodyPr/>
          <a:lstStyle/>
          <a:p>
            <a:fld id="{30B2FA80-C2EA-4EED-8157-E7F7C6382A87}" type="datetimeFigureOut">
              <a:rPr lang="en-US" smtClean="0"/>
              <a:t>1/19/2023</a:t>
            </a:fld>
            <a:endParaRPr lang="en-US"/>
          </a:p>
        </p:txBody>
      </p:sp>
      <p:sp>
        <p:nvSpPr>
          <p:cNvPr id="6" name="Footer Placeholder 5">
            <a:extLst>
              <a:ext uri="{FF2B5EF4-FFF2-40B4-BE49-F238E27FC236}">
                <a16:creationId xmlns:a16="http://schemas.microsoft.com/office/drawing/2014/main" id="{2CA1BF46-2A72-9A0B-7A6A-B0DF43148C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ADDC29-532D-9B9F-FDDE-F4509FCFB392}"/>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41098127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4.emf"/><Relationship Id="rId2" Type="http://schemas.openxmlformats.org/officeDocument/2006/relationships/slideLayout" Target="../slideLayouts/slideLayout14.xml"/><Relationship Id="rId16" Type="http://schemas.openxmlformats.org/officeDocument/2006/relationships/image" Target="../media/image3.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6CFFAAC-555E-D685-48D6-84A3E8DA72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C97FA02-9C54-35A7-06B8-411F476C55C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019893-3B08-0492-1F1F-76BAAD9D501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B2FA80-C2EA-4EED-8157-E7F7C6382A87}" type="datetimeFigureOut">
              <a:rPr lang="en-US" smtClean="0"/>
              <a:t>1/19/2023</a:t>
            </a:fld>
            <a:endParaRPr lang="en-US"/>
          </a:p>
        </p:txBody>
      </p:sp>
      <p:sp>
        <p:nvSpPr>
          <p:cNvPr id="5" name="Footer Placeholder 4">
            <a:extLst>
              <a:ext uri="{FF2B5EF4-FFF2-40B4-BE49-F238E27FC236}">
                <a16:creationId xmlns:a16="http://schemas.microsoft.com/office/drawing/2014/main" id="{D8CDCACD-4398-35A9-01B7-C1697DB03F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F530C64-8141-3494-C721-919A57599C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CEE5A1-08FA-4DD8-88C3-B05B2FA1EF50}" type="slidenum">
              <a:rPr lang="en-US" smtClean="0"/>
              <a:t>‹#›</a:t>
            </a:fld>
            <a:endParaRPr lang="en-US"/>
          </a:p>
        </p:txBody>
      </p:sp>
    </p:spTree>
    <p:extLst>
      <p:ext uri="{BB962C8B-B14F-4D97-AF65-F5344CB8AC3E}">
        <p14:creationId xmlns:p14="http://schemas.microsoft.com/office/powerpoint/2010/main" val="10589203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13"/>
            </p:custDataLst>
            <p:extLst>
              <p:ext uri="{D42A27DB-BD31-4B8C-83A1-F6EECF244321}">
                <p14:modId xmlns:p14="http://schemas.microsoft.com/office/powerpoint/2010/main" val="335924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1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a:srcRect l="762"/>
          <a:stretch/>
        </p:blipFill>
        <p:spPr>
          <a:xfrm rot="5400000">
            <a:off x="9976898" y="2843773"/>
            <a:ext cx="6858000" cy="1170455"/>
          </a:xfrm>
          <a:prstGeom prst="rect">
            <a:avLst/>
          </a:prstGeom>
        </p:spPr>
      </p:pic>
    </p:spTree>
    <p:extLst>
      <p:ext uri="{BB962C8B-B14F-4D97-AF65-F5344CB8AC3E}">
        <p14:creationId xmlns:p14="http://schemas.microsoft.com/office/powerpoint/2010/main" val="29396932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hyperlink" Target="https://www.oberlo.com/blog/ecommerce-trends" TargetMode="External"/><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hyperlink" Target="https://www.icsc.com/news-and-views/icsc-exchange/icsc-survey-finds-in-person-customer-service-key-to-retail-success" TargetMode="External"/><Relationship Id="rId11" Type="http://schemas.openxmlformats.org/officeDocument/2006/relationships/image" Target="../media/image13.png"/><Relationship Id="rId5" Type="http://schemas.openxmlformats.org/officeDocument/2006/relationships/hyperlink" Target="https://www.mckinsey.com/business-functions/marketing-and-sales/our-insights/the-great-consumer-shift-ten-charts-that-show-how-us-shopping-behavior-is-changing" TargetMode="External"/><Relationship Id="rId10" Type="http://schemas.openxmlformats.org/officeDocument/2006/relationships/image" Target="../media/image12.svg"/><Relationship Id="rId4" Type="http://schemas.openxmlformats.org/officeDocument/2006/relationships/hyperlink" Target="https://www.retaildive.com/news/5-predictions-for-the-future-of-retail/570085/" TargetMode="External"/><Relationship Id="rId9"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20CCE07-C844-43E3-A1A7-8FF413B01666}"/>
              </a:ext>
            </a:extLst>
          </p:cNvPr>
          <p:cNvSpPr>
            <a:spLocks noGrp="1"/>
          </p:cNvSpPr>
          <p:nvPr>
            <p:ph type="ctrTitle"/>
          </p:nvPr>
        </p:nvSpPr>
        <p:spPr>
          <a:xfrm>
            <a:off x="496343" y="1919532"/>
            <a:ext cx="8252882" cy="2387600"/>
          </a:xfrm>
        </p:spPr>
        <p:txBody>
          <a:bodyPr>
            <a:normAutofit/>
          </a:bodyPr>
          <a:lstStyle/>
          <a:p>
            <a:r>
              <a:rPr lang="en-US" sz="5400" spc="-50" dirty="0">
                <a:ln w="3175">
                  <a:noFill/>
                </a:ln>
                <a:solidFill>
                  <a:srgbClr val="0078D4"/>
                </a:solidFill>
                <a:latin typeface="Segoe UI Semibold" panose="020B0702040204020203" pitchFamily="34" charset="0"/>
                <a:ea typeface="+mn-ea"/>
                <a:cs typeface="Segoe UI Semibold" panose="020B0702040204020203" pitchFamily="34" charset="0"/>
              </a:rPr>
              <a:t>Retail Recommender</a:t>
            </a:r>
            <a:br>
              <a:rPr lang="en-US" sz="5400" dirty="0">
                <a:cs typeface="Segoe UI"/>
              </a:rPr>
            </a:br>
            <a:r>
              <a:rPr lang="en-US" sz="3600" dirty="0">
                <a:solidFill>
                  <a:schemeClr val="tx1"/>
                </a:solidFill>
                <a:latin typeface="Segoe UI" panose="020B0502040204020203" pitchFamily="34" charset="0"/>
              </a:rPr>
              <a:t>Solution Offering</a:t>
            </a:r>
            <a:endParaRPr lang="en-US" sz="4400"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549926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9" name="TextBox 1448">
            <a:extLst>
              <a:ext uri="{FF2B5EF4-FFF2-40B4-BE49-F238E27FC236}">
                <a16:creationId xmlns:a16="http://schemas.microsoft.com/office/drawing/2014/main" id="{FEE85A39-053F-4082-9CD5-E8A4421D1C28}"/>
              </a:ext>
            </a:extLst>
          </p:cNvPr>
          <p:cNvSpPr txBox="1"/>
          <p:nvPr/>
        </p:nvSpPr>
        <p:spPr>
          <a:xfrm>
            <a:off x="463042" y="5825268"/>
            <a:ext cx="4660657" cy="530915"/>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hlinkClick r:id="rId3"/>
              </a:rPr>
              <a:t>1) 10 Important Ecommerce Trends to Watch for in 2021 - </a:t>
            </a:r>
            <a:r>
              <a:rPr kumimoji="0" lang="en-US" sz="800" b="0" i="0" u="none" strike="noStrike" kern="1200" cap="none" spc="0" normalizeH="0" baseline="0" noProof="0" err="1">
                <a:ln>
                  <a:noFill/>
                </a:ln>
                <a:solidFill>
                  <a:prstClr val="black"/>
                </a:solidFill>
                <a:effectLst/>
                <a:uLnTx/>
                <a:uFillTx/>
                <a:latin typeface="Segoe UI"/>
                <a:ea typeface="+mn-ea"/>
                <a:cs typeface="+mn-cs"/>
                <a:hlinkClick r:id="rId3"/>
              </a:rPr>
              <a:t>Oberlo</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2) </a:t>
            </a:r>
            <a:r>
              <a:rPr kumimoji="0" lang="en-US" sz="800" b="0" i="0" u="none" strike="noStrike" kern="1200" cap="none" spc="0" normalizeH="0" baseline="0" noProof="0">
                <a:ln>
                  <a:noFill/>
                </a:ln>
                <a:solidFill>
                  <a:prstClr val="black"/>
                </a:solidFill>
                <a:effectLst/>
                <a:uLnTx/>
                <a:uFillTx/>
                <a:latin typeface="Segoe UI"/>
                <a:ea typeface="+mn-ea"/>
                <a:cs typeface="+mn-cs"/>
                <a:hlinkClick r:id="rId4"/>
              </a:rPr>
              <a:t>5 predictions for the future of retail | Retail Dive</a:t>
            </a:r>
            <a:endParaRPr kumimoji="0" lang="en-US" sz="8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3)</a:t>
            </a:r>
            <a:r>
              <a:rPr kumimoji="0" lang="en-US" sz="800" b="0" i="0" u="none" strike="noStrike" kern="1200" cap="none" spc="0" normalizeH="0" baseline="0" noProof="0">
                <a:ln>
                  <a:noFill/>
                </a:ln>
                <a:solidFill>
                  <a:srgbClr val="FFFFFF"/>
                </a:solidFill>
                <a:effectLst/>
                <a:uLnTx/>
                <a:uFillTx/>
                <a:latin typeface="Segoe UI"/>
                <a:ea typeface="+mn-ea"/>
                <a:cs typeface="+mn-cs"/>
              </a:rPr>
              <a:t> </a:t>
            </a:r>
            <a:r>
              <a:rPr kumimoji="0" lang="en-US" sz="800" b="0" i="0" u="none" strike="noStrike" kern="1200" cap="none" spc="0" normalizeH="0" baseline="0" noProof="0">
                <a:ln>
                  <a:noFill/>
                </a:ln>
                <a:solidFill>
                  <a:srgbClr val="FFFFFF"/>
                </a:solidFill>
                <a:effectLst/>
                <a:uLnTx/>
                <a:uFillTx/>
                <a:latin typeface="Segoe UI"/>
                <a:ea typeface="+mn-ea"/>
                <a:cs typeface="+mn-cs"/>
                <a:hlinkClick r:id="rId5"/>
              </a:rPr>
              <a:t>McKinsey &amp; Company, The Great Consumer Shift</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1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4) </a:t>
            </a:r>
            <a:r>
              <a:rPr kumimoji="0" lang="en-US" sz="800" b="0" i="0" u="none" strike="noStrike" kern="1200" cap="none" spc="0" normalizeH="0" baseline="0" noProof="0">
                <a:ln>
                  <a:noFill/>
                </a:ln>
                <a:solidFill>
                  <a:srgbClr val="FFFFFF"/>
                </a:solidFill>
                <a:effectLst/>
                <a:uLnTx/>
                <a:uFillTx/>
                <a:latin typeface="Segoe UI"/>
                <a:ea typeface="+mn-ea"/>
                <a:cs typeface="+mn-cs"/>
                <a:hlinkClick r:id="rId6"/>
              </a:rPr>
              <a:t>The ICSC Customer Service Survey. ICSC, 2019</a:t>
            </a:r>
          </a:p>
        </p:txBody>
      </p:sp>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p:txBody>
          <a:bodyPr>
            <a:normAutofit fontScale="90000"/>
          </a:bodyPr>
          <a:lstStyle/>
          <a:p>
            <a:r>
              <a:rPr lang="en-US" sz="3600" dirty="0"/>
              <a:t>Technology is driving the demand for personalization</a:t>
            </a:r>
          </a:p>
        </p:txBody>
      </p:sp>
      <p:sp>
        <p:nvSpPr>
          <p:cNvPr id="227" name="Rectangle 226">
            <a:extLst>
              <a:ext uri="{FF2B5EF4-FFF2-40B4-BE49-F238E27FC236}">
                <a16:creationId xmlns:a16="http://schemas.microsoft.com/office/drawing/2014/main" id="{CE956E07-736D-4FAA-81CD-1D66008EF4E9}"/>
              </a:ext>
            </a:extLst>
          </p:cNvPr>
          <p:cNvSpPr>
            <a:spLocks/>
          </p:cNvSpPr>
          <p:nvPr/>
        </p:nvSpPr>
        <p:spPr>
          <a:xfrm>
            <a:off x="670194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8" name="Rectangle 1457">
            <a:extLst>
              <a:ext uri="{FF2B5EF4-FFF2-40B4-BE49-F238E27FC236}">
                <a16:creationId xmlns:a16="http://schemas.microsoft.com/office/drawing/2014/main" id="{856756C3-8A93-48F6-86A6-FAEADFB4A34E}"/>
              </a:ext>
            </a:extLst>
          </p:cNvPr>
          <p:cNvSpPr>
            <a:spLocks/>
          </p:cNvSpPr>
          <p:nvPr/>
        </p:nvSpPr>
        <p:spPr>
          <a:xfrm>
            <a:off x="6701941" y="3738682"/>
            <a:ext cx="5029200" cy="2008348"/>
          </a:xfrm>
          <a:prstGeom prst="rect">
            <a:avLst/>
          </a:prstGeom>
          <a:solidFill>
            <a:srgbClr val="C7B1D7"/>
          </a:solidFill>
          <a:ln>
            <a:solidFill>
              <a:srgbClr val="652D90"/>
            </a:solidFill>
          </a:ln>
          <a:effectLst>
            <a:outerShdw dist="38100" dir="2700000" algn="tl"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8" name="Group 417">
            <a:extLst>
              <a:ext uri="{FF2B5EF4-FFF2-40B4-BE49-F238E27FC236}">
                <a16:creationId xmlns:a16="http://schemas.microsoft.com/office/drawing/2014/main" id="{AFEF35CA-1258-4A0F-AF25-06B823090E77}"/>
              </a:ext>
            </a:extLst>
          </p:cNvPr>
          <p:cNvGrpSpPr/>
          <p:nvPr/>
        </p:nvGrpSpPr>
        <p:grpSpPr>
          <a:xfrm>
            <a:off x="6917116" y="1415896"/>
            <a:ext cx="692838" cy="759097"/>
            <a:chOff x="7267920" y="1309804"/>
            <a:chExt cx="797884" cy="874189"/>
          </a:xfrm>
        </p:grpSpPr>
        <p:sp>
          <p:nvSpPr>
            <p:cNvPr id="1385" name="Hexagon 1384">
              <a:extLst>
                <a:ext uri="{FF2B5EF4-FFF2-40B4-BE49-F238E27FC236}">
                  <a16:creationId xmlns:a16="http://schemas.microsoft.com/office/drawing/2014/main" id="{C327594E-79A2-4CCE-B7BC-D4BB464A35BA}"/>
                </a:ext>
              </a:extLst>
            </p:cNvPr>
            <p:cNvSpPr/>
            <p:nvPr/>
          </p:nvSpPr>
          <p:spPr>
            <a:xfrm rot="16200000" flipH="1">
              <a:off x="7380332" y="1360584"/>
              <a:ext cx="736252" cy="634692"/>
            </a:xfrm>
            <a:prstGeom prst="hexagon">
              <a:avLst/>
            </a:prstGeom>
            <a:solidFill>
              <a:srgbClr val="652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6" name="Hexagon 1385">
              <a:extLst>
                <a:ext uri="{FF2B5EF4-FFF2-40B4-BE49-F238E27FC236}">
                  <a16:creationId xmlns:a16="http://schemas.microsoft.com/office/drawing/2014/main" id="{142F51F3-B2BB-4C02-8574-9A0FD42ED17A}"/>
                </a:ext>
              </a:extLst>
            </p:cNvPr>
            <p:cNvSpPr/>
            <p:nvPr/>
          </p:nvSpPr>
          <p:spPr>
            <a:xfrm rot="16200000" flipH="1">
              <a:off x="7211690" y="1424879"/>
              <a:ext cx="815344" cy="702884"/>
            </a:xfrm>
            <a:prstGeom prst="hexagon">
              <a:avLst/>
            </a:prstGeom>
            <a:solidFill>
              <a:schemeClr val="bg1"/>
            </a:solidFill>
            <a:ln>
              <a:solidFill>
                <a:srgbClr val="652D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378" name="Graphic 1377" descr="Icon of a speaking bubble with people's faces">
              <a:extLst>
                <a:ext uri="{FF2B5EF4-FFF2-40B4-BE49-F238E27FC236}">
                  <a16:creationId xmlns:a16="http://schemas.microsoft.com/office/drawing/2014/main" id="{9133BAE6-19F4-438E-A0A9-B33CB0EB3AE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99008" y="1554386"/>
              <a:ext cx="440708" cy="443870"/>
            </a:xfrm>
            <a:prstGeom prst="rect">
              <a:avLst/>
            </a:prstGeom>
          </p:spPr>
        </p:pic>
      </p:grpSp>
      <p:sp>
        <p:nvSpPr>
          <p:cNvPr id="1374" name="TextBox 1373">
            <a:extLst>
              <a:ext uri="{FF2B5EF4-FFF2-40B4-BE49-F238E27FC236}">
                <a16:creationId xmlns:a16="http://schemas.microsoft.com/office/drawing/2014/main" id="{4CA55082-23D6-452B-9FE4-F1CF6507CECE}"/>
              </a:ext>
            </a:extLst>
          </p:cNvPr>
          <p:cNvSpPr txBox="1"/>
          <p:nvPr/>
        </p:nvSpPr>
        <p:spPr>
          <a:xfrm>
            <a:off x="7825973" y="1380133"/>
            <a:ext cx="3364703"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652D90"/>
                </a:solidFill>
                <a:effectLst/>
                <a:uLnTx/>
                <a:uFillTx/>
                <a:latin typeface="Segoe UI Semibold"/>
                <a:ea typeface="+mn-ea"/>
                <a:cs typeface="Segoe UI Semibold" panose="020B0502040204020203" pitchFamily="34" charset="0"/>
              </a:rPr>
              <a:t>Embrace the new normal</a:t>
            </a:r>
          </a:p>
        </p:txBody>
      </p:sp>
      <p:cxnSp>
        <p:nvCxnSpPr>
          <p:cNvPr id="1447" name="Straight Connector 1446">
            <a:extLst>
              <a:ext uri="{FF2B5EF4-FFF2-40B4-BE49-F238E27FC236}">
                <a16:creationId xmlns:a16="http://schemas.microsoft.com/office/drawing/2014/main" id="{F92D3AB9-C95F-4E0F-A7AD-B27518A527DE}"/>
              </a:ext>
            </a:extLst>
          </p:cNvPr>
          <p:cNvCxnSpPr>
            <a:cxnSpLocks/>
          </p:cNvCxnSpPr>
          <p:nvPr/>
        </p:nvCxnSpPr>
        <p:spPr>
          <a:xfrm flipH="1">
            <a:off x="7858959" y="1820639"/>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76" name="TextBox 475">
            <a:extLst>
              <a:ext uri="{FF2B5EF4-FFF2-40B4-BE49-F238E27FC236}">
                <a16:creationId xmlns:a16="http://schemas.microsoft.com/office/drawing/2014/main" id="{C834A69A-E455-4DF4-9921-21ADF243BA0C}"/>
              </a:ext>
            </a:extLst>
          </p:cNvPr>
          <p:cNvSpPr txBox="1"/>
          <p:nvPr/>
        </p:nvSpPr>
        <p:spPr>
          <a:xfrm flipH="1">
            <a:off x="10448662" y="2219199"/>
            <a:ext cx="819135" cy="615553"/>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CF588E"/>
                </a:solidFill>
                <a:effectLst/>
                <a:uLnTx/>
                <a:uFillTx/>
                <a:latin typeface="Segoe UI Semibold"/>
                <a:ea typeface="+mn-ea"/>
                <a:cs typeface="Segoe UI Semibold" panose="020B0502040204020203" pitchFamily="34" charset="0"/>
              </a:rPr>
              <a:t>75</a:t>
            </a:r>
            <a:r>
              <a:rPr kumimoji="0" lang="en-US" sz="2400" b="0" i="0" u="none" strike="noStrike" kern="1200" cap="none" spc="0" normalizeH="0" baseline="0" noProof="0">
                <a:ln>
                  <a:noFill/>
                </a:ln>
                <a:solidFill>
                  <a:srgbClr val="CF588E"/>
                </a:solidFill>
                <a:effectLst/>
                <a:uLnTx/>
                <a:uFillTx/>
                <a:latin typeface="Segoe UI Semibold"/>
                <a:ea typeface="+mn-ea"/>
                <a:cs typeface="Segoe UI Semibold" panose="020B0502040204020203" pitchFamily="34" charset="0"/>
              </a:rPr>
              <a:t>%</a:t>
            </a:r>
            <a:endParaRPr kumimoji="0" lang="en-IN" sz="2400" b="0" i="0" u="none" strike="noStrike" kern="1200" cap="none" spc="0" normalizeH="0" baseline="0" noProof="0">
              <a:ln>
                <a:noFill/>
              </a:ln>
              <a:solidFill>
                <a:srgbClr val="CF588E"/>
              </a:solidFill>
              <a:effectLst/>
              <a:uLnTx/>
              <a:uFillTx/>
              <a:latin typeface="Segoe UI Semibold"/>
              <a:ea typeface="+mn-ea"/>
              <a:cs typeface="Segoe UI Semibold" panose="020B0502040204020203" pitchFamily="34" charset="0"/>
            </a:endParaRPr>
          </a:p>
        </p:txBody>
      </p:sp>
      <p:sp>
        <p:nvSpPr>
          <p:cNvPr id="477" name="TextBox 476">
            <a:extLst>
              <a:ext uri="{FF2B5EF4-FFF2-40B4-BE49-F238E27FC236}">
                <a16:creationId xmlns:a16="http://schemas.microsoft.com/office/drawing/2014/main" id="{62E68AB6-CF8E-4B23-BA02-5BEDB5326E3E}"/>
              </a:ext>
            </a:extLst>
          </p:cNvPr>
          <p:cNvSpPr txBox="1">
            <a:spLocks/>
          </p:cNvSpPr>
          <p:nvPr/>
        </p:nvSpPr>
        <p:spPr>
          <a:xfrm flipH="1">
            <a:off x="7858959" y="1920352"/>
            <a:ext cx="2549347" cy="914400"/>
          </a:xfrm>
          <a:prstGeom prst="rect">
            <a:avLst/>
          </a:prstGeom>
          <a:noFill/>
        </p:spPr>
        <p:txBody>
          <a:bodyPr wrap="square" lIns="0" tIns="0" rIns="0" bIns="0" rtlCol="0" anchor="t">
            <a:noAutofit/>
          </a:bodyPr>
          <a:lstStyle/>
          <a:p>
            <a:pPr marL="0" marR="0" lvl="0" indent="0" algn="l" defTabSz="914367" rtl="0" eaLnBrk="1" fontAlgn="base"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of consumers have tried a new shopping experience or approach since COVID and intend to continue.</a:t>
            </a:r>
            <a:r>
              <a:rPr kumimoji="0" lang="en-US" sz="1400" b="0" i="0" u="none" strike="noStrike" kern="1200" cap="none" spc="0" normalizeH="0" baseline="30000" noProof="0">
                <a:ln>
                  <a:noFill/>
                </a:ln>
                <a:solidFill>
                  <a:prstClr val="black"/>
                </a:solidFill>
                <a:effectLst/>
                <a:uLnTx/>
                <a:uFillTx/>
                <a:latin typeface="Segoe UI"/>
                <a:ea typeface="+mn-ea"/>
                <a:cs typeface="Segoe UI" panose="020B0502040204020203" pitchFamily="34" charset="0"/>
              </a:rPr>
              <a:t>3</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416" name="TextBox 1415">
            <a:extLst>
              <a:ext uri="{FF2B5EF4-FFF2-40B4-BE49-F238E27FC236}">
                <a16:creationId xmlns:a16="http://schemas.microsoft.com/office/drawing/2014/main" id="{72E7BEE3-FD0C-4883-88D0-F076FF3012D7}"/>
              </a:ext>
            </a:extLst>
          </p:cNvPr>
          <p:cNvSpPr txBox="1"/>
          <p:nvPr/>
        </p:nvSpPr>
        <p:spPr>
          <a:xfrm>
            <a:off x="7784917" y="3815203"/>
            <a:ext cx="3676418"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652D90"/>
                </a:solidFill>
                <a:effectLst/>
                <a:uLnTx/>
                <a:uFillTx/>
                <a:latin typeface="Segoe UI Semibold"/>
                <a:ea typeface="+mn-ea"/>
                <a:cs typeface="Segoe UI Semibold" panose="020B0502040204020203" pitchFamily="34" charset="0"/>
              </a:rPr>
              <a:t>Know your customer</a:t>
            </a:r>
          </a:p>
        </p:txBody>
      </p:sp>
      <p:sp>
        <p:nvSpPr>
          <p:cNvPr id="1417" name="TextBox 1416">
            <a:extLst>
              <a:ext uri="{FF2B5EF4-FFF2-40B4-BE49-F238E27FC236}">
                <a16:creationId xmlns:a16="http://schemas.microsoft.com/office/drawing/2014/main" id="{5226AF2D-47C1-4BD3-A9D3-782FF5F04CE1}"/>
              </a:ext>
            </a:extLst>
          </p:cNvPr>
          <p:cNvSpPr txBox="1"/>
          <p:nvPr/>
        </p:nvSpPr>
        <p:spPr>
          <a:xfrm>
            <a:off x="10448663" y="4739181"/>
            <a:ext cx="819135" cy="61555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CF588E"/>
                </a:solidFill>
                <a:effectLst/>
                <a:uLnTx/>
                <a:uFillTx/>
                <a:latin typeface="Segoe UI Semibold"/>
                <a:ea typeface="+mn-ea"/>
                <a:cs typeface="Segoe UI Semibold" panose="020B0502040204020203" pitchFamily="34" charset="0"/>
              </a:rPr>
              <a:t>78</a:t>
            </a:r>
            <a:r>
              <a:rPr kumimoji="0" lang="en-US" sz="2400" b="0" i="0" u="none" strike="noStrike" kern="1200" cap="none" spc="0" normalizeH="0" baseline="0" noProof="0">
                <a:ln>
                  <a:noFill/>
                </a:ln>
                <a:solidFill>
                  <a:srgbClr val="CF588E"/>
                </a:solidFill>
                <a:effectLst/>
                <a:uLnTx/>
                <a:uFillTx/>
                <a:latin typeface="Segoe UI Semibold"/>
                <a:ea typeface="+mn-ea"/>
                <a:cs typeface="Segoe UI Semibold" panose="020B0502040204020203" pitchFamily="34" charset="0"/>
              </a:rPr>
              <a:t>%</a:t>
            </a:r>
            <a:endParaRPr kumimoji="0" lang="en-IN" sz="2400" b="0" i="0" u="none" strike="noStrike" kern="1200" cap="none" spc="0" normalizeH="0" baseline="0" noProof="0">
              <a:ln>
                <a:noFill/>
              </a:ln>
              <a:solidFill>
                <a:srgbClr val="CF588E"/>
              </a:solidFill>
              <a:effectLst/>
              <a:uLnTx/>
              <a:uFillTx/>
              <a:latin typeface="Segoe UI Semibold"/>
              <a:ea typeface="+mn-ea"/>
              <a:cs typeface="Segoe UI Semibold" panose="020B0502040204020203" pitchFamily="34" charset="0"/>
            </a:endParaRPr>
          </a:p>
        </p:txBody>
      </p:sp>
      <p:sp>
        <p:nvSpPr>
          <p:cNvPr id="1418" name="TextBox 1417">
            <a:extLst>
              <a:ext uri="{FF2B5EF4-FFF2-40B4-BE49-F238E27FC236}">
                <a16:creationId xmlns:a16="http://schemas.microsoft.com/office/drawing/2014/main" id="{F1868423-6161-400D-B29F-6DB736E64691}"/>
              </a:ext>
            </a:extLst>
          </p:cNvPr>
          <p:cNvSpPr txBox="1">
            <a:spLocks/>
          </p:cNvSpPr>
          <p:nvPr/>
        </p:nvSpPr>
        <p:spPr>
          <a:xfrm>
            <a:off x="7784917" y="4357902"/>
            <a:ext cx="2549347" cy="1292662"/>
          </a:xfrm>
          <a:prstGeom prst="rect">
            <a:avLst/>
          </a:prstGeom>
          <a:noFill/>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of consumers are more likely </a:t>
            </a:r>
            <a:br>
              <a:rPr kumimoji="0" lang="en-US" sz="14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br>
            <a:r>
              <a:rPr kumimoji="0" lang="en-US" sz="14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to shop</a:t>
            </a:r>
            <a:r>
              <a:rPr kumimoji="0" lang="en-US" sz="1400" b="1"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 </a:t>
            </a:r>
            <a:r>
              <a:rPr kumimoji="0" lang="en-US" sz="14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at retailers and brands providing a personalized experience.</a:t>
            </a:r>
            <a:r>
              <a:rPr kumimoji="0" lang="en-US" sz="1400" b="0" i="0" u="none" strike="noStrike" kern="1200" cap="none" spc="0" normalizeH="0" baseline="30000" noProof="0">
                <a:ln>
                  <a:noFill/>
                </a:ln>
                <a:solidFill>
                  <a:prstClr val="black"/>
                </a:solidFill>
                <a:effectLst/>
                <a:uLnTx/>
                <a:uFillTx/>
                <a:latin typeface="Segoe UI"/>
                <a:ea typeface="+mn-ea"/>
                <a:cs typeface="Segoe UI" panose="020B0502040204020203" pitchFamily="34" charset="0"/>
              </a:rPr>
              <a:t>4</a:t>
            </a:r>
            <a:endParaRPr kumimoji="0" lang="en-US" sz="1400" b="0"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p:txBody>
      </p:sp>
      <p:cxnSp>
        <p:nvCxnSpPr>
          <p:cNvPr id="1448" name="Straight Connector 1447">
            <a:extLst>
              <a:ext uri="{FF2B5EF4-FFF2-40B4-BE49-F238E27FC236}">
                <a16:creationId xmlns:a16="http://schemas.microsoft.com/office/drawing/2014/main" id="{72A7C948-D9F9-4A93-B159-0D94110B677D}"/>
              </a:ext>
            </a:extLst>
          </p:cNvPr>
          <p:cNvCxnSpPr>
            <a:cxnSpLocks/>
          </p:cNvCxnSpPr>
          <p:nvPr/>
        </p:nvCxnSpPr>
        <p:spPr>
          <a:xfrm flipH="1">
            <a:off x="7784917" y="4234744"/>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417" name="Group 416">
            <a:extLst>
              <a:ext uri="{FF2B5EF4-FFF2-40B4-BE49-F238E27FC236}">
                <a16:creationId xmlns:a16="http://schemas.microsoft.com/office/drawing/2014/main" id="{6AB18C5B-00B5-4DFC-B508-E1F25A7CA02C}"/>
              </a:ext>
            </a:extLst>
          </p:cNvPr>
          <p:cNvGrpSpPr/>
          <p:nvPr/>
        </p:nvGrpSpPr>
        <p:grpSpPr>
          <a:xfrm>
            <a:off x="6917116" y="4868989"/>
            <a:ext cx="692838" cy="759097"/>
            <a:chOff x="7267920" y="4674007"/>
            <a:chExt cx="797884" cy="874189"/>
          </a:xfrm>
        </p:grpSpPr>
        <p:sp>
          <p:nvSpPr>
            <p:cNvPr id="1387" name="Hexagon 1386">
              <a:extLst>
                <a:ext uri="{FF2B5EF4-FFF2-40B4-BE49-F238E27FC236}">
                  <a16:creationId xmlns:a16="http://schemas.microsoft.com/office/drawing/2014/main" id="{8CE18CCD-7FF7-4E96-B2FA-50A18233C1E5}"/>
                </a:ext>
              </a:extLst>
            </p:cNvPr>
            <p:cNvSpPr/>
            <p:nvPr/>
          </p:nvSpPr>
          <p:spPr>
            <a:xfrm rot="5400000" flipH="1" flipV="1">
              <a:off x="7380332" y="4862724"/>
              <a:ext cx="736252" cy="634692"/>
            </a:xfrm>
            <a:prstGeom prst="hexagon">
              <a:avLst/>
            </a:prstGeom>
            <a:solidFill>
              <a:srgbClr val="652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8" name="Hexagon 1387">
              <a:extLst>
                <a:ext uri="{FF2B5EF4-FFF2-40B4-BE49-F238E27FC236}">
                  <a16:creationId xmlns:a16="http://schemas.microsoft.com/office/drawing/2014/main" id="{DCAF91DD-4361-49A8-A24B-59CE4E888EFC}"/>
                </a:ext>
              </a:extLst>
            </p:cNvPr>
            <p:cNvSpPr/>
            <p:nvPr/>
          </p:nvSpPr>
          <p:spPr>
            <a:xfrm rot="5400000" flipH="1" flipV="1">
              <a:off x="7211690" y="4730237"/>
              <a:ext cx="815344" cy="702884"/>
            </a:xfrm>
            <a:prstGeom prst="hexagon">
              <a:avLst/>
            </a:prstGeom>
            <a:solidFill>
              <a:schemeClr val="bg1"/>
            </a:solidFill>
            <a:ln>
              <a:solidFill>
                <a:srgbClr val="652D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395" name="Graphic 3" descr="Icon of gears">
              <a:extLst>
                <a:ext uri="{FF2B5EF4-FFF2-40B4-BE49-F238E27FC236}">
                  <a16:creationId xmlns:a16="http://schemas.microsoft.com/office/drawing/2014/main" id="{F4D717DC-13C7-4238-9DE6-A14D95A03FE6}"/>
                </a:ext>
              </a:extLst>
            </p:cNvPr>
            <p:cNvGrpSpPr>
              <a:grpSpLocks noChangeAspect="1"/>
            </p:cNvGrpSpPr>
            <p:nvPr/>
          </p:nvGrpSpPr>
          <p:grpSpPr>
            <a:xfrm>
              <a:off x="7389838" y="4852155"/>
              <a:ext cx="459048" cy="459048"/>
              <a:chOff x="4403186" y="4725817"/>
              <a:chExt cx="398850" cy="398848"/>
            </a:xfrm>
          </p:grpSpPr>
          <p:sp>
            <p:nvSpPr>
              <p:cNvPr id="1396" name="Freeform 5">
                <a:extLst>
                  <a:ext uri="{FF2B5EF4-FFF2-40B4-BE49-F238E27FC236}">
                    <a16:creationId xmlns:a16="http://schemas.microsoft.com/office/drawing/2014/main" id="{4977AF17-062D-4F0E-B7F7-0453E8994207}"/>
                  </a:ext>
                </a:extLst>
              </p:cNvPr>
              <p:cNvSpPr/>
              <p:nvPr/>
            </p:nvSpPr>
            <p:spPr>
              <a:xfrm>
                <a:off x="4403186" y="4725817"/>
                <a:ext cx="398850" cy="398848"/>
              </a:xfrm>
              <a:custGeom>
                <a:avLst/>
                <a:gdLst>
                  <a:gd name="connsiteX0" fmla="*/ 374956 w 398849"/>
                  <a:gd name="connsiteY0" fmla="*/ 221056 h 398849"/>
                  <a:gd name="connsiteX1" fmla="*/ 398849 w 398849"/>
                  <a:gd name="connsiteY1" fmla="*/ 217414 h 398849"/>
                  <a:gd name="connsiteX2" fmla="*/ 398821 w 398849"/>
                  <a:gd name="connsiteY2" fmla="*/ 181160 h 398849"/>
                  <a:gd name="connsiteX3" fmla="*/ 374956 w 398849"/>
                  <a:gd name="connsiteY3" fmla="*/ 177573 h 398849"/>
                  <a:gd name="connsiteX4" fmla="*/ 370293 w 398849"/>
                  <a:gd name="connsiteY4" fmla="*/ 153735 h 398849"/>
                  <a:gd name="connsiteX5" fmla="*/ 391096 w 398849"/>
                  <a:gd name="connsiteY5" fmla="*/ 141402 h 398849"/>
                  <a:gd name="connsiteX6" fmla="*/ 377494 w 398849"/>
                  <a:gd name="connsiteY6" fmla="*/ 107796 h 398849"/>
                  <a:gd name="connsiteX7" fmla="*/ 353987 w 398849"/>
                  <a:gd name="connsiteY7" fmla="*/ 113425 h 398849"/>
                  <a:gd name="connsiteX8" fmla="*/ 338895 w 398849"/>
                  <a:gd name="connsiteY8" fmla="*/ 90580 h 398849"/>
                  <a:gd name="connsiteX9" fmla="*/ 353214 w 398849"/>
                  <a:gd name="connsiteY9" fmla="*/ 71128 h 398849"/>
                  <a:gd name="connsiteX10" fmla="*/ 327555 w 398849"/>
                  <a:gd name="connsiteY10" fmla="*/ 45524 h 398849"/>
                  <a:gd name="connsiteX11" fmla="*/ 308159 w 398849"/>
                  <a:gd name="connsiteY11" fmla="*/ 59844 h 398849"/>
                  <a:gd name="connsiteX12" fmla="*/ 287963 w 398849"/>
                  <a:gd name="connsiteY12" fmla="*/ 46297 h 398849"/>
                  <a:gd name="connsiteX13" fmla="*/ 293950 w 398849"/>
                  <a:gd name="connsiteY13" fmla="*/ 22873 h 398849"/>
                  <a:gd name="connsiteX14" fmla="*/ 260565 w 398849"/>
                  <a:gd name="connsiteY14" fmla="*/ 8746 h 398849"/>
                  <a:gd name="connsiteX15" fmla="*/ 247929 w 398849"/>
                  <a:gd name="connsiteY15" fmla="*/ 29329 h 398849"/>
                  <a:gd name="connsiteX16" fmla="*/ 221083 w 398849"/>
                  <a:gd name="connsiteY16" fmla="*/ 23866 h 398849"/>
                  <a:gd name="connsiteX17" fmla="*/ 217414 w 398849"/>
                  <a:gd name="connsiteY17" fmla="*/ 0 h 398849"/>
                  <a:gd name="connsiteX18" fmla="*/ 181160 w 398849"/>
                  <a:gd name="connsiteY18" fmla="*/ 28 h 398849"/>
                  <a:gd name="connsiteX19" fmla="*/ 177573 w 398849"/>
                  <a:gd name="connsiteY19" fmla="*/ 23893 h 398849"/>
                  <a:gd name="connsiteX20" fmla="*/ 153735 w 398849"/>
                  <a:gd name="connsiteY20" fmla="*/ 28556 h 398849"/>
                  <a:gd name="connsiteX21" fmla="*/ 141402 w 398849"/>
                  <a:gd name="connsiteY21" fmla="*/ 7753 h 398849"/>
                  <a:gd name="connsiteX22" fmla="*/ 107824 w 398849"/>
                  <a:gd name="connsiteY22" fmla="*/ 21383 h 398849"/>
                  <a:gd name="connsiteX23" fmla="*/ 113452 w 398849"/>
                  <a:gd name="connsiteY23" fmla="*/ 44890 h 398849"/>
                  <a:gd name="connsiteX24" fmla="*/ 90607 w 398849"/>
                  <a:gd name="connsiteY24" fmla="*/ 59982 h 398849"/>
                  <a:gd name="connsiteX25" fmla="*/ 71156 w 398849"/>
                  <a:gd name="connsiteY25" fmla="*/ 45662 h 398849"/>
                  <a:gd name="connsiteX26" fmla="*/ 45552 w 398849"/>
                  <a:gd name="connsiteY26" fmla="*/ 71322 h 398849"/>
                  <a:gd name="connsiteX27" fmla="*/ 59872 w 398849"/>
                  <a:gd name="connsiteY27" fmla="*/ 90718 h 398849"/>
                  <a:gd name="connsiteX28" fmla="*/ 46325 w 398849"/>
                  <a:gd name="connsiteY28" fmla="*/ 110914 h 398849"/>
                  <a:gd name="connsiteX29" fmla="*/ 22900 w 398849"/>
                  <a:gd name="connsiteY29" fmla="*/ 104927 h 398849"/>
                  <a:gd name="connsiteX30" fmla="*/ 8774 w 398849"/>
                  <a:gd name="connsiteY30" fmla="*/ 138311 h 398849"/>
                  <a:gd name="connsiteX31" fmla="*/ 29356 w 398849"/>
                  <a:gd name="connsiteY31" fmla="*/ 150948 h 398849"/>
                  <a:gd name="connsiteX32" fmla="*/ 23893 w 398849"/>
                  <a:gd name="connsiteY32" fmla="*/ 177794 h 398849"/>
                  <a:gd name="connsiteX33" fmla="*/ 0 w 398849"/>
                  <a:gd name="connsiteY33" fmla="*/ 181408 h 398849"/>
                  <a:gd name="connsiteX34" fmla="*/ 28 w 398849"/>
                  <a:gd name="connsiteY34" fmla="*/ 217662 h 398849"/>
                  <a:gd name="connsiteX35" fmla="*/ 23893 w 398849"/>
                  <a:gd name="connsiteY35" fmla="*/ 221249 h 398849"/>
                  <a:gd name="connsiteX36" fmla="*/ 28556 w 398849"/>
                  <a:gd name="connsiteY36" fmla="*/ 245087 h 398849"/>
                  <a:gd name="connsiteX37" fmla="*/ 7781 w 398849"/>
                  <a:gd name="connsiteY37" fmla="*/ 257420 h 398849"/>
                  <a:gd name="connsiteX38" fmla="*/ 21383 w 398849"/>
                  <a:gd name="connsiteY38" fmla="*/ 291025 h 398849"/>
                  <a:gd name="connsiteX39" fmla="*/ 44890 w 398849"/>
                  <a:gd name="connsiteY39" fmla="*/ 285397 h 398849"/>
                  <a:gd name="connsiteX40" fmla="*/ 59982 w 398849"/>
                  <a:gd name="connsiteY40" fmla="*/ 308242 h 398849"/>
                  <a:gd name="connsiteX41" fmla="*/ 45662 w 398849"/>
                  <a:gd name="connsiteY41" fmla="*/ 327693 h 398849"/>
                  <a:gd name="connsiteX42" fmla="*/ 71322 w 398849"/>
                  <a:gd name="connsiteY42" fmla="*/ 353297 h 398849"/>
                  <a:gd name="connsiteX43" fmla="*/ 90718 w 398849"/>
                  <a:gd name="connsiteY43" fmla="*/ 338978 h 398849"/>
                  <a:gd name="connsiteX44" fmla="*/ 110914 w 398849"/>
                  <a:gd name="connsiteY44" fmla="*/ 352524 h 398849"/>
                  <a:gd name="connsiteX45" fmla="*/ 104927 w 398849"/>
                  <a:gd name="connsiteY45" fmla="*/ 375949 h 398849"/>
                  <a:gd name="connsiteX46" fmla="*/ 138311 w 398849"/>
                  <a:gd name="connsiteY46" fmla="*/ 390075 h 398849"/>
                  <a:gd name="connsiteX47" fmla="*/ 150948 w 398849"/>
                  <a:gd name="connsiteY47" fmla="*/ 369493 h 398849"/>
                  <a:gd name="connsiteX48" fmla="*/ 177794 w 398849"/>
                  <a:gd name="connsiteY48" fmla="*/ 374956 h 398849"/>
                  <a:gd name="connsiteX49" fmla="*/ 181435 w 398849"/>
                  <a:gd name="connsiteY49" fmla="*/ 398849 h 398849"/>
                  <a:gd name="connsiteX50" fmla="*/ 217689 w 398849"/>
                  <a:gd name="connsiteY50" fmla="*/ 398821 h 398849"/>
                  <a:gd name="connsiteX51" fmla="*/ 221276 w 398849"/>
                  <a:gd name="connsiteY51" fmla="*/ 374956 h 398849"/>
                  <a:gd name="connsiteX52" fmla="*/ 245114 w 398849"/>
                  <a:gd name="connsiteY52" fmla="*/ 370293 h 398849"/>
                  <a:gd name="connsiteX53" fmla="*/ 257447 w 398849"/>
                  <a:gd name="connsiteY53" fmla="*/ 391096 h 398849"/>
                  <a:gd name="connsiteX54" fmla="*/ 291025 w 398849"/>
                  <a:gd name="connsiteY54" fmla="*/ 377494 h 398849"/>
                  <a:gd name="connsiteX55" fmla="*/ 285397 w 398849"/>
                  <a:gd name="connsiteY55" fmla="*/ 353987 h 398849"/>
                  <a:gd name="connsiteX56" fmla="*/ 308242 w 398849"/>
                  <a:gd name="connsiteY56" fmla="*/ 338895 h 398849"/>
                  <a:gd name="connsiteX57" fmla="*/ 327693 w 398849"/>
                  <a:gd name="connsiteY57" fmla="*/ 353214 h 398849"/>
                  <a:gd name="connsiteX58" fmla="*/ 353297 w 398849"/>
                  <a:gd name="connsiteY58" fmla="*/ 327555 h 398849"/>
                  <a:gd name="connsiteX59" fmla="*/ 338978 w 398849"/>
                  <a:gd name="connsiteY59" fmla="*/ 308159 h 398849"/>
                  <a:gd name="connsiteX60" fmla="*/ 352524 w 398849"/>
                  <a:gd name="connsiteY60" fmla="*/ 287963 h 398849"/>
                  <a:gd name="connsiteX61" fmla="*/ 375949 w 398849"/>
                  <a:gd name="connsiteY61" fmla="*/ 293950 h 398849"/>
                  <a:gd name="connsiteX62" fmla="*/ 390075 w 398849"/>
                  <a:gd name="connsiteY62" fmla="*/ 260565 h 398849"/>
                  <a:gd name="connsiteX63" fmla="*/ 369493 w 398849"/>
                  <a:gd name="connsiteY63" fmla="*/ 247929 h 398849"/>
                  <a:gd name="connsiteX64" fmla="*/ 374956 w 398849"/>
                  <a:gd name="connsiteY64" fmla="*/ 221056 h 398849"/>
                  <a:gd name="connsiteX65" fmla="*/ 199425 w 398849"/>
                  <a:gd name="connsiteY65" fmla="*/ 333625 h 398849"/>
                  <a:gd name="connsiteX66" fmla="*/ 65224 w 398849"/>
                  <a:gd name="connsiteY66" fmla="*/ 199425 h 398849"/>
                  <a:gd name="connsiteX67" fmla="*/ 199425 w 398849"/>
                  <a:gd name="connsiteY67" fmla="*/ 65224 h 398849"/>
                  <a:gd name="connsiteX68" fmla="*/ 333625 w 398849"/>
                  <a:gd name="connsiteY68" fmla="*/ 199425 h 398849"/>
                  <a:gd name="connsiteX69" fmla="*/ 199425 w 398849"/>
                  <a:gd name="connsiteY69" fmla="*/ 333625 h 398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98849" h="398849">
                    <a:moveTo>
                      <a:pt x="374956" y="221056"/>
                    </a:moveTo>
                    <a:lnTo>
                      <a:pt x="398849" y="217414"/>
                    </a:lnTo>
                    <a:lnTo>
                      <a:pt x="398821" y="181160"/>
                    </a:lnTo>
                    <a:lnTo>
                      <a:pt x="374956" y="177573"/>
                    </a:lnTo>
                    <a:cubicBezTo>
                      <a:pt x="373935" y="169516"/>
                      <a:pt x="372390" y="161543"/>
                      <a:pt x="370293" y="153735"/>
                    </a:cubicBezTo>
                    <a:lnTo>
                      <a:pt x="391096" y="141402"/>
                    </a:lnTo>
                    <a:lnTo>
                      <a:pt x="377494" y="107796"/>
                    </a:lnTo>
                    <a:lnTo>
                      <a:pt x="353987" y="113425"/>
                    </a:lnTo>
                    <a:cubicBezTo>
                      <a:pt x="349572" y="105451"/>
                      <a:pt x="344523" y="97809"/>
                      <a:pt x="338895" y="90580"/>
                    </a:cubicBezTo>
                    <a:lnTo>
                      <a:pt x="353214" y="71128"/>
                    </a:lnTo>
                    <a:lnTo>
                      <a:pt x="327555" y="45524"/>
                    </a:lnTo>
                    <a:lnTo>
                      <a:pt x="308159" y="59844"/>
                    </a:lnTo>
                    <a:cubicBezTo>
                      <a:pt x="301813" y="54905"/>
                      <a:pt x="295081" y="50380"/>
                      <a:pt x="287963" y="46297"/>
                    </a:cubicBezTo>
                    <a:lnTo>
                      <a:pt x="293950" y="22873"/>
                    </a:lnTo>
                    <a:lnTo>
                      <a:pt x="260565" y="8746"/>
                    </a:lnTo>
                    <a:lnTo>
                      <a:pt x="247929" y="29329"/>
                    </a:lnTo>
                    <a:cubicBezTo>
                      <a:pt x="239045" y="26790"/>
                      <a:pt x="230078" y="24969"/>
                      <a:pt x="221083" y="23866"/>
                    </a:cubicBezTo>
                    <a:lnTo>
                      <a:pt x="217414" y="0"/>
                    </a:lnTo>
                    <a:lnTo>
                      <a:pt x="181160" y="28"/>
                    </a:lnTo>
                    <a:lnTo>
                      <a:pt x="177573" y="23893"/>
                    </a:lnTo>
                    <a:cubicBezTo>
                      <a:pt x="169516" y="24914"/>
                      <a:pt x="161543" y="26459"/>
                      <a:pt x="153735" y="28556"/>
                    </a:cubicBezTo>
                    <a:lnTo>
                      <a:pt x="141402" y="7753"/>
                    </a:lnTo>
                    <a:lnTo>
                      <a:pt x="107824" y="21383"/>
                    </a:lnTo>
                    <a:lnTo>
                      <a:pt x="113452" y="44890"/>
                    </a:lnTo>
                    <a:cubicBezTo>
                      <a:pt x="105479" y="49304"/>
                      <a:pt x="97836" y="54353"/>
                      <a:pt x="90607" y="59982"/>
                    </a:cubicBezTo>
                    <a:lnTo>
                      <a:pt x="71156" y="45662"/>
                    </a:lnTo>
                    <a:lnTo>
                      <a:pt x="45552" y="71322"/>
                    </a:lnTo>
                    <a:lnTo>
                      <a:pt x="59872" y="90718"/>
                    </a:lnTo>
                    <a:cubicBezTo>
                      <a:pt x="54933" y="97064"/>
                      <a:pt x="50408" y="103796"/>
                      <a:pt x="46325" y="110914"/>
                    </a:cubicBezTo>
                    <a:lnTo>
                      <a:pt x="22900" y="104927"/>
                    </a:lnTo>
                    <a:lnTo>
                      <a:pt x="8774" y="138311"/>
                    </a:lnTo>
                    <a:lnTo>
                      <a:pt x="29356" y="150948"/>
                    </a:lnTo>
                    <a:cubicBezTo>
                      <a:pt x="26818" y="159832"/>
                      <a:pt x="24997" y="168799"/>
                      <a:pt x="23893" y="177794"/>
                    </a:cubicBezTo>
                    <a:lnTo>
                      <a:pt x="0" y="181408"/>
                    </a:lnTo>
                    <a:lnTo>
                      <a:pt x="28" y="217662"/>
                    </a:lnTo>
                    <a:lnTo>
                      <a:pt x="23893" y="221249"/>
                    </a:lnTo>
                    <a:cubicBezTo>
                      <a:pt x="24914" y="229305"/>
                      <a:pt x="26459" y="237279"/>
                      <a:pt x="28556" y="245087"/>
                    </a:cubicBezTo>
                    <a:lnTo>
                      <a:pt x="7781" y="257420"/>
                    </a:lnTo>
                    <a:lnTo>
                      <a:pt x="21383" y="291025"/>
                    </a:lnTo>
                    <a:lnTo>
                      <a:pt x="44890" y="285397"/>
                    </a:lnTo>
                    <a:cubicBezTo>
                      <a:pt x="49304" y="293370"/>
                      <a:pt x="54353" y="301013"/>
                      <a:pt x="59982" y="308242"/>
                    </a:cubicBezTo>
                    <a:lnTo>
                      <a:pt x="45662" y="327693"/>
                    </a:lnTo>
                    <a:lnTo>
                      <a:pt x="71322" y="353297"/>
                    </a:lnTo>
                    <a:lnTo>
                      <a:pt x="90718" y="338978"/>
                    </a:lnTo>
                    <a:cubicBezTo>
                      <a:pt x="97064" y="343916"/>
                      <a:pt x="103796" y="348441"/>
                      <a:pt x="110914" y="352524"/>
                    </a:cubicBezTo>
                    <a:lnTo>
                      <a:pt x="104927" y="375949"/>
                    </a:lnTo>
                    <a:lnTo>
                      <a:pt x="138311" y="390075"/>
                    </a:lnTo>
                    <a:lnTo>
                      <a:pt x="150948" y="369493"/>
                    </a:lnTo>
                    <a:cubicBezTo>
                      <a:pt x="159832" y="372031"/>
                      <a:pt x="168799" y="373852"/>
                      <a:pt x="177794" y="374956"/>
                    </a:cubicBezTo>
                    <a:lnTo>
                      <a:pt x="181435" y="398849"/>
                    </a:lnTo>
                    <a:lnTo>
                      <a:pt x="217689" y="398821"/>
                    </a:lnTo>
                    <a:lnTo>
                      <a:pt x="221276" y="374956"/>
                    </a:lnTo>
                    <a:cubicBezTo>
                      <a:pt x="229333" y="373935"/>
                      <a:pt x="237306" y="372390"/>
                      <a:pt x="245114" y="370293"/>
                    </a:cubicBezTo>
                    <a:lnTo>
                      <a:pt x="257447" y="391096"/>
                    </a:lnTo>
                    <a:lnTo>
                      <a:pt x="291025" y="377494"/>
                    </a:lnTo>
                    <a:lnTo>
                      <a:pt x="285397" y="353987"/>
                    </a:lnTo>
                    <a:cubicBezTo>
                      <a:pt x="293370" y="349572"/>
                      <a:pt x="301013" y="344523"/>
                      <a:pt x="308242" y="338895"/>
                    </a:cubicBezTo>
                    <a:lnTo>
                      <a:pt x="327693" y="353214"/>
                    </a:lnTo>
                    <a:lnTo>
                      <a:pt x="353297" y="327555"/>
                    </a:lnTo>
                    <a:lnTo>
                      <a:pt x="338978" y="308159"/>
                    </a:lnTo>
                    <a:cubicBezTo>
                      <a:pt x="343916" y="301813"/>
                      <a:pt x="348441" y="295081"/>
                      <a:pt x="352524" y="287963"/>
                    </a:cubicBezTo>
                    <a:lnTo>
                      <a:pt x="375949" y="293950"/>
                    </a:lnTo>
                    <a:lnTo>
                      <a:pt x="390075" y="260565"/>
                    </a:lnTo>
                    <a:lnTo>
                      <a:pt x="369493" y="247929"/>
                    </a:lnTo>
                    <a:cubicBezTo>
                      <a:pt x="372031" y="238989"/>
                      <a:pt x="373824" y="230022"/>
                      <a:pt x="374956" y="221056"/>
                    </a:cubicBezTo>
                    <a:close/>
                    <a:moveTo>
                      <a:pt x="199425" y="333625"/>
                    </a:moveTo>
                    <a:cubicBezTo>
                      <a:pt x="125289" y="333625"/>
                      <a:pt x="65224" y="273533"/>
                      <a:pt x="65224" y="199425"/>
                    </a:cubicBezTo>
                    <a:cubicBezTo>
                      <a:pt x="65224" y="125289"/>
                      <a:pt x="125316" y="65224"/>
                      <a:pt x="199425" y="65224"/>
                    </a:cubicBezTo>
                    <a:cubicBezTo>
                      <a:pt x="273533" y="65224"/>
                      <a:pt x="333625" y="125316"/>
                      <a:pt x="333625" y="199425"/>
                    </a:cubicBezTo>
                    <a:cubicBezTo>
                      <a:pt x="333625" y="273533"/>
                      <a:pt x="273533" y="333625"/>
                      <a:pt x="199425" y="333625"/>
                    </a:cubicBezTo>
                    <a:close/>
                  </a:path>
                </a:pathLst>
              </a:custGeom>
              <a:solidFill>
                <a:schemeClr val="accent1"/>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7" name="Freeform 6">
                <a:extLst>
                  <a:ext uri="{FF2B5EF4-FFF2-40B4-BE49-F238E27FC236}">
                    <a16:creationId xmlns:a16="http://schemas.microsoft.com/office/drawing/2014/main" id="{661F1136-D846-472A-9C3A-F8DB04CFECC1}"/>
                  </a:ext>
                </a:extLst>
              </p:cNvPr>
              <p:cNvSpPr/>
              <p:nvPr/>
            </p:nvSpPr>
            <p:spPr>
              <a:xfrm>
                <a:off x="4602603" y="4820780"/>
                <a:ext cx="104816" cy="208915"/>
              </a:xfrm>
              <a:custGeom>
                <a:avLst/>
                <a:gdLst>
                  <a:gd name="connsiteX0" fmla="*/ 0 w 104816"/>
                  <a:gd name="connsiteY0" fmla="*/ 208916 h 208915"/>
                  <a:gd name="connsiteX1" fmla="*/ 0 w 104816"/>
                  <a:gd name="connsiteY1" fmla="*/ 192361 h 208915"/>
                  <a:gd name="connsiteX2" fmla="*/ 88262 w 104816"/>
                  <a:gd name="connsiteY2" fmla="*/ 104458 h 208915"/>
                  <a:gd name="connsiteX3" fmla="*/ 0 w 104816"/>
                  <a:gd name="connsiteY3" fmla="*/ 16554 h 208915"/>
                  <a:gd name="connsiteX4" fmla="*/ 0 w 104816"/>
                  <a:gd name="connsiteY4" fmla="*/ 0 h 208915"/>
                  <a:gd name="connsiteX5" fmla="*/ 104817 w 104816"/>
                  <a:gd name="connsiteY5" fmla="*/ 104458 h 208915"/>
                  <a:gd name="connsiteX6" fmla="*/ 0 w 104816"/>
                  <a:gd name="connsiteY6" fmla="*/ 208916 h 20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816" h="208915">
                    <a:moveTo>
                      <a:pt x="0" y="208916"/>
                    </a:moveTo>
                    <a:lnTo>
                      <a:pt x="0" y="192361"/>
                    </a:lnTo>
                    <a:cubicBezTo>
                      <a:pt x="48670" y="192361"/>
                      <a:pt x="88262" y="152934"/>
                      <a:pt x="88262" y="104458"/>
                    </a:cubicBezTo>
                    <a:cubicBezTo>
                      <a:pt x="88262" y="55981"/>
                      <a:pt x="48670" y="16554"/>
                      <a:pt x="0" y="16554"/>
                    </a:cubicBezTo>
                    <a:lnTo>
                      <a:pt x="0" y="0"/>
                    </a:lnTo>
                    <a:cubicBezTo>
                      <a:pt x="57802" y="0"/>
                      <a:pt x="104817" y="46876"/>
                      <a:pt x="104817" y="104458"/>
                    </a:cubicBezTo>
                    <a:cubicBezTo>
                      <a:pt x="104817" y="162039"/>
                      <a:pt x="57775" y="208916"/>
                      <a:pt x="0" y="208916"/>
                    </a:cubicBez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8" name="Freeform 7">
                <a:extLst>
                  <a:ext uri="{FF2B5EF4-FFF2-40B4-BE49-F238E27FC236}">
                    <a16:creationId xmlns:a16="http://schemas.microsoft.com/office/drawing/2014/main" id="{DBE0322C-5393-43C6-9460-FE4F51B2A69F}"/>
                  </a:ext>
                </a:extLst>
              </p:cNvPr>
              <p:cNvSpPr/>
              <p:nvPr/>
            </p:nvSpPr>
            <p:spPr>
              <a:xfrm>
                <a:off x="4539993" y="4862617"/>
                <a:ext cx="125205" cy="125205"/>
              </a:xfrm>
              <a:custGeom>
                <a:avLst/>
                <a:gdLst>
                  <a:gd name="connsiteX0" fmla="*/ 62603 w 125205"/>
                  <a:gd name="connsiteY0" fmla="*/ 125206 h 125205"/>
                  <a:gd name="connsiteX1" fmla="*/ 0 w 125205"/>
                  <a:gd name="connsiteY1" fmla="*/ 62603 h 125205"/>
                  <a:gd name="connsiteX2" fmla="*/ 62603 w 125205"/>
                  <a:gd name="connsiteY2" fmla="*/ 0 h 125205"/>
                  <a:gd name="connsiteX3" fmla="*/ 125206 w 125205"/>
                  <a:gd name="connsiteY3" fmla="*/ 62603 h 125205"/>
                  <a:gd name="connsiteX4" fmla="*/ 108652 w 125205"/>
                  <a:gd name="connsiteY4" fmla="*/ 62603 h 125205"/>
                  <a:gd name="connsiteX5" fmla="*/ 62603 w 125205"/>
                  <a:gd name="connsiteY5" fmla="*/ 16554 h 125205"/>
                  <a:gd name="connsiteX6" fmla="*/ 16554 w 125205"/>
                  <a:gd name="connsiteY6" fmla="*/ 62603 h 125205"/>
                  <a:gd name="connsiteX7" fmla="*/ 62603 w 125205"/>
                  <a:gd name="connsiteY7" fmla="*/ 108652 h 125205"/>
                  <a:gd name="connsiteX8" fmla="*/ 62603 w 125205"/>
                  <a:gd name="connsiteY8" fmla="*/ 125206 h 12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205" h="125205">
                    <a:moveTo>
                      <a:pt x="62603" y="125206"/>
                    </a:moveTo>
                    <a:cubicBezTo>
                      <a:pt x="28087" y="125206"/>
                      <a:pt x="0" y="97119"/>
                      <a:pt x="0" y="62603"/>
                    </a:cubicBezTo>
                    <a:cubicBezTo>
                      <a:pt x="0" y="28087"/>
                      <a:pt x="28087" y="0"/>
                      <a:pt x="62603" y="0"/>
                    </a:cubicBezTo>
                    <a:cubicBezTo>
                      <a:pt x="97119" y="0"/>
                      <a:pt x="125206" y="28087"/>
                      <a:pt x="125206" y="62603"/>
                    </a:cubicBezTo>
                    <a:lnTo>
                      <a:pt x="108652" y="62603"/>
                    </a:lnTo>
                    <a:cubicBezTo>
                      <a:pt x="108652" y="37220"/>
                      <a:pt x="87986" y="16554"/>
                      <a:pt x="62603" y="16554"/>
                    </a:cubicBezTo>
                    <a:cubicBezTo>
                      <a:pt x="37220" y="16554"/>
                      <a:pt x="16554" y="37220"/>
                      <a:pt x="16554" y="62603"/>
                    </a:cubicBezTo>
                    <a:cubicBezTo>
                      <a:pt x="16554" y="87986"/>
                      <a:pt x="37220" y="108652"/>
                      <a:pt x="62603" y="108652"/>
                    </a:cubicBezTo>
                    <a:lnTo>
                      <a:pt x="62603" y="125206"/>
                    </a:ln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9" name="Freeform 8">
                <a:extLst>
                  <a:ext uri="{FF2B5EF4-FFF2-40B4-BE49-F238E27FC236}">
                    <a16:creationId xmlns:a16="http://schemas.microsoft.com/office/drawing/2014/main" id="{0F890FFA-7592-4FCE-9D5B-C08C8D02F8EF}"/>
                  </a:ext>
                </a:extLst>
              </p:cNvPr>
              <p:cNvSpPr/>
              <p:nvPr/>
            </p:nvSpPr>
            <p:spPr>
              <a:xfrm>
                <a:off x="4497782" y="4925242"/>
                <a:ext cx="104816" cy="104457"/>
              </a:xfrm>
              <a:custGeom>
                <a:avLst/>
                <a:gdLst>
                  <a:gd name="connsiteX0" fmla="*/ 104817 w 104816"/>
                  <a:gd name="connsiteY0" fmla="*/ 104458 h 104457"/>
                  <a:gd name="connsiteX1" fmla="*/ 0 w 104816"/>
                  <a:gd name="connsiteY1" fmla="*/ 0 h 104457"/>
                  <a:gd name="connsiteX2" fmla="*/ 16554 w 104816"/>
                  <a:gd name="connsiteY2" fmla="*/ 0 h 104457"/>
                  <a:gd name="connsiteX3" fmla="*/ 104817 w 104816"/>
                  <a:gd name="connsiteY3" fmla="*/ 87904 h 104457"/>
                  <a:gd name="connsiteX4" fmla="*/ 104817 w 104816"/>
                  <a:gd name="connsiteY4" fmla="*/ 104458 h 104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16" h="104457">
                    <a:moveTo>
                      <a:pt x="104817" y="104458"/>
                    </a:moveTo>
                    <a:cubicBezTo>
                      <a:pt x="47014" y="104458"/>
                      <a:pt x="0" y="57581"/>
                      <a:pt x="0" y="0"/>
                    </a:cubicBezTo>
                    <a:lnTo>
                      <a:pt x="16554" y="0"/>
                    </a:lnTo>
                    <a:cubicBezTo>
                      <a:pt x="16554" y="48477"/>
                      <a:pt x="56147" y="87904"/>
                      <a:pt x="104817" y="87904"/>
                    </a:cubicBezTo>
                    <a:lnTo>
                      <a:pt x="104817" y="104458"/>
                    </a:lnTo>
                    <a:close/>
                  </a:path>
                </a:pathLst>
              </a:custGeom>
              <a:solidFill>
                <a:srgbClr val="28A8EA"/>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00" name="Freeform 9">
                <a:extLst>
                  <a:ext uri="{FF2B5EF4-FFF2-40B4-BE49-F238E27FC236}">
                    <a16:creationId xmlns:a16="http://schemas.microsoft.com/office/drawing/2014/main" id="{FCE447CE-248E-4E3B-AFD4-7D914B8A5044}"/>
                  </a:ext>
                </a:extLst>
              </p:cNvPr>
              <p:cNvSpPr/>
              <p:nvPr/>
            </p:nvSpPr>
            <p:spPr>
              <a:xfrm>
                <a:off x="4539962" y="4862646"/>
                <a:ext cx="125205" cy="62602"/>
              </a:xfrm>
              <a:custGeom>
                <a:avLst/>
                <a:gdLst>
                  <a:gd name="connsiteX0" fmla="*/ 125206 w 125205"/>
                  <a:gd name="connsiteY0" fmla="*/ 62603 h 62602"/>
                  <a:gd name="connsiteX1" fmla="*/ 108652 w 125205"/>
                  <a:gd name="connsiteY1" fmla="*/ 62603 h 62602"/>
                  <a:gd name="connsiteX2" fmla="*/ 62603 w 125205"/>
                  <a:gd name="connsiteY2" fmla="*/ 16554 h 62602"/>
                  <a:gd name="connsiteX3" fmla="*/ 16554 w 125205"/>
                  <a:gd name="connsiteY3" fmla="*/ 62603 h 62602"/>
                  <a:gd name="connsiteX4" fmla="*/ 0 w 125205"/>
                  <a:gd name="connsiteY4" fmla="*/ 62603 h 62602"/>
                  <a:gd name="connsiteX5" fmla="*/ 62603 w 125205"/>
                  <a:gd name="connsiteY5" fmla="*/ 0 h 62602"/>
                  <a:gd name="connsiteX6" fmla="*/ 125206 w 125205"/>
                  <a:gd name="connsiteY6" fmla="*/ 62603 h 6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205" h="62602">
                    <a:moveTo>
                      <a:pt x="125206" y="62603"/>
                    </a:moveTo>
                    <a:lnTo>
                      <a:pt x="108652" y="62603"/>
                    </a:lnTo>
                    <a:cubicBezTo>
                      <a:pt x="108652" y="37220"/>
                      <a:pt x="87986" y="16554"/>
                      <a:pt x="62603" y="16554"/>
                    </a:cubicBezTo>
                    <a:cubicBezTo>
                      <a:pt x="37220" y="16554"/>
                      <a:pt x="16554" y="37220"/>
                      <a:pt x="16554" y="62603"/>
                    </a:cubicBezTo>
                    <a:lnTo>
                      <a:pt x="0" y="62603"/>
                    </a:lnTo>
                    <a:cubicBezTo>
                      <a:pt x="0" y="28087"/>
                      <a:pt x="28087" y="0"/>
                      <a:pt x="62603" y="0"/>
                    </a:cubicBezTo>
                    <a:cubicBezTo>
                      <a:pt x="97146" y="0"/>
                      <a:pt x="125206" y="28087"/>
                      <a:pt x="125206" y="62603"/>
                    </a:cubicBezTo>
                    <a:close/>
                  </a:path>
                </a:pathLst>
              </a:custGeom>
              <a:solidFill>
                <a:srgbClr val="50E6FF"/>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30" name="Rectangle 229">
            <a:extLst>
              <a:ext uri="{FF2B5EF4-FFF2-40B4-BE49-F238E27FC236}">
                <a16:creationId xmlns:a16="http://schemas.microsoft.com/office/drawing/2014/main" id="{1A5FFE22-13C0-4D41-AA36-A4EFD5852C6D}"/>
              </a:ext>
            </a:extLst>
          </p:cNvPr>
          <p:cNvSpPr>
            <a:spLocks/>
          </p:cNvSpPr>
          <p:nvPr/>
        </p:nvSpPr>
        <p:spPr>
          <a:xfrm>
            <a:off x="45720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Rectangle 230">
            <a:extLst>
              <a:ext uri="{FF2B5EF4-FFF2-40B4-BE49-F238E27FC236}">
                <a16:creationId xmlns:a16="http://schemas.microsoft.com/office/drawing/2014/main" id="{9A35D88D-7B7F-49F6-AC56-7A666058E2A9}"/>
              </a:ext>
            </a:extLst>
          </p:cNvPr>
          <p:cNvSpPr>
            <a:spLocks/>
          </p:cNvSpPr>
          <p:nvPr/>
        </p:nvSpPr>
        <p:spPr>
          <a:xfrm>
            <a:off x="457200" y="3738682"/>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6" name="Group 415">
            <a:extLst>
              <a:ext uri="{FF2B5EF4-FFF2-40B4-BE49-F238E27FC236}">
                <a16:creationId xmlns:a16="http://schemas.microsoft.com/office/drawing/2014/main" id="{C7EC9D55-7612-40AF-B1E6-EBD135997546}"/>
              </a:ext>
            </a:extLst>
          </p:cNvPr>
          <p:cNvGrpSpPr/>
          <p:nvPr/>
        </p:nvGrpSpPr>
        <p:grpSpPr>
          <a:xfrm>
            <a:off x="4581764" y="4868989"/>
            <a:ext cx="692838" cy="759097"/>
            <a:chOff x="4126197" y="4674007"/>
            <a:chExt cx="797884" cy="874189"/>
          </a:xfrm>
        </p:grpSpPr>
        <p:sp>
          <p:nvSpPr>
            <p:cNvPr id="1382" name="Hexagon 1381">
              <a:extLst>
                <a:ext uri="{FF2B5EF4-FFF2-40B4-BE49-F238E27FC236}">
                  <a16:creationId xmlns:a16="http://schemas.microsoft.com/office/drawing/2014/main" id="{1366217A-CE8E-4223-866B-BC07572AB4CE}"/>
                </a:ext>
              </a:extLst>
            </p:cNvPr>
            <p:cNvSpPr/>
            <p:nvPr/>
          </p:nvSpPr>
          <p:spPr>
            <a:xfrm rot="16200000" flipV="1">
              <a:off x="4075417" y="4862724"/>
              <a:ext cx="736252" cy="634692"/>
            </a:xfrm>
            <a:prstGeom prst="hexagon">
              <a:avLst/>
            </a:prstGeom>
            <a:solidFill>
              <a:srgbClr val="652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3" name="Hexagon 1382">
              <a:extLst>
                <a:ext uri="{FF2B5EF4-FFF2-40B4-BE49-F238E27FC236}">
                  <a16:creationId xmlns:a16="http://schemas.microsoft.com/office/drawing/2014/main" id="{57A7B137-85A3-4743-ABEC-DAA26E9CFBBA}"/>
                </a:ext>
              </a:extLst>
            </p:cNvPr>
            <p:cNvSpPr/>
            <p:nvPr/>
          </p:nvSpPr>
          <p:spPr>
            <a:xfrm rot="16200000" flipV="1">
              <a:off x="4164967" y="4730237"/>
              <a:ext cx="815344" cy="702884"/>
            </a:xfrm>
            <a:prstGeom prst="hexagon">
              <a:avLst/>
            </a:prstGeom>
            <a:solidFill>
              <a:schemeClr val="bg1"/>
            </a:solidFill>
            <a:ln>
              <a:solidFill>
                <a:srgbClr val="652D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14" name="Graphic 4" descr="Icon of a box with connected dots and lines">
              <a:extLst>
                <a:ext uri="{FF2B5EF4-FFF2-40B4-BE49-F238E27FC236}">
                  <a16:creationId xmlns:a16="http://schemas.microsoft.com/office/drawing/2014/main" id="{435485E8-FCC2-413C-AD84-A583A2A03C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48710" y="4833757"/>
              <a:ext cx="447858" cy="495842"/>
            </a:xfrm>
            <a:prstGeom prst="rect">
              <a:avLst/>
            </a:prstGeom>
          </p:spPr>
        </p:pic>
      </p:grpSp>
      <p:grpSp>
        <p:nvGrpSpPr>
          <p:cNvPr id="419" name="Group 418">
            <a:extLst>
              <a:ext uri="{FF2B5EF4-FFF2-40B4-BE49-F238E27FC236}">
                <a16:creationId xmlns:a16="http://schemas.microsoft.com/office/drawing/2014/main" id="{9F20A8D7-524C-4A3A-A483-A39140F4BE42}"/>
              </a:ext>
            </a:extLst>
          </p:cNvPr>
          <p:cNvGrpSpPr/>
          <p:nvPr/>
        </p:nvGrpSpPr>
        <p:grpSpPr>
          <a:xfrm>
            <a:off x="4607958" y="1415896"/>
            <a:ext cx="666644" cy="756714"/>
            <a:chOff x="4156362" y="1312548"/>
            <a:chExt cx="767719" cy="871445"/>
          </a:xfrm>
        </p:grpSpPr>
        <p:sp>
          <p:nvSpPr>
            <p:cNvPr id="1379" name="Hexagon 1378">
              <a:extLst>
                <a:ext uri="{FF2B5EF4-FFF2-40B4-BE49-F238E27FC236}">
                  <a16:creationId xmlns:a16="http://schemas.microsoft.com/office/drawing/2014/main" id="{8408904D-A700-4383-A035-466F2988A26B}"/>
                </a:ext>
              </a:extLst>
            </p:cNvPr>
            <p:cNvSpPr/>
            <p:nvPr/>
          </p:nvSpPr>
          <p:spPr>
            <a:xfrm rot="5400000">
              <a:off x="4105582" y="1363328"/>
              <a:ext cx="736252" cy="634692"/>
            </a:xfrm>
            <a:prstGeom prst="hexagon">
              <a:avLst/>
            </a:prstGeom>
            <a:solidFill>
              <a:srgbClr val="652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0" name="Hexagon 1379">
              <a:extLst>
                <a:ext uri="{FF2B5EF4-FFF2-40B4-BE49-F238E27FC236}">
                  <a16:creationId xmlns:a16="http://schemas.microsoft.com/office/drawing/2014/main" id="{CE8C4C48-1FBC-4336-8AE0-05D644243804}"/>
                </a:ext>
              </a:extLst>
            </p:cNvPr>
            <p:cNvSpPr/>
            <p:nvPr/>
          </p:nvSpPr>
          <p:spPr>
            <a:xfrm rot="5400000">
              <a:off x="4164967" y="1424879"/>
              <a:ext cx="815344" cy="702884"/>
            </a:xfrm>
            <a:prstGeom prst="hexagon">
              <a:avLst/>
            </a:prstGeom>
            <a:solidFill>
              <a:schemeClr val="bg1"/>
            </a:solidFill>
            <a:ln>
              <a:solidFill>
                <a:srgbClr val="652D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04" name="Graphic 1403" descr="Icon of a wrench and screwdriver">
              <a:extLst>
                <a:ext uri="{FF2B5EF4-FFF2-40B4-BE49-F238E27FC236}">
                  <a16:creationId xmlns:a16="http://schemas.microsoft.com/office/drawing/2014/main" id="{4548D39F-2A52-482D-94A7-AD6B8B9417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44821" y="1559709"/>
              <a:ext cx="455636" cy="433224"/>
            </a:xfrm>
            <a:prstGeom prst="rect">
              <a:avLst/>
            </a:prstGeom>
          </p:spPr>
        </p:pic>
      </p:grpSp>
      <p:sp>
        <p:nvSpPr>
          <p:cNvPr id="1440" name="TextBox 1439">
            <a:extLst>
              <a:ext uri="{FF2B5EF4-FFF2-40B4-BE49-F238E27FC236}">
                <a16:creationId xmlns:a16="http://schemas.microsoft.com/office/drawing/2014/main" id="{71E55790-153F-4588-AD91-33F3F15D7EEB}"/>
              </a:ext>
            </a:extLst>
          </p:cNvPr>
          <p:cNvSpPr txBox="1"/>
          <p:nvPr/>
        </p:nvSpPr>
        <p:spPr>
          <a:xfrm flipH="1">
            <a:off x="857333" y="1380133"/>
            <a:ext cx="3517207"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652D90"/>
                </a:solidFill>
                <a:effectLst/>
                <a:uLnTx/>
                <a:uFillTx/>
                <a:latin typeface="Segoe UI Semibold"/>
                <a:ea typeface="+mn-ea"/>
                <a:cs typeface="Segoe UI Semibold" panose="020B0502040204020203" pitchFamily="34" charset="0"/>
              </a:rPr>
              <a:t>Empower your employees</a:t>
            </a:r>
          </a:p>
        </p:txBody>
      </p:sp>
      <p:cxnSp>
        <p:nvCxnSpPr>
          <p:cNvPr id="1445" name="Straight Connector 1444">
            <a:extLst>
              <a:ext uri="{FF2B5EF4-FFF2-40B4-BE49-F238E27FC236}">
                <a16:creationId xmlns:a16="http://schemas.microsoft.com/office/drawing/2014/main" id="{EFE18C89-13BD-4331-A4FA-9BB2C019C5FB}"/>
              </a:ext>
            </a:extLst>
          </p:cNvPr>
          <p:cNvCxnSpPr>
            <a:cxnSpLocks/>
          </p:cNvCxnSpPr>
          <p:nvPr/>
        </p:nvCxnSpPr>
        <p:spPr>
          <a:xfrm flipH="1">
            <a:off x="857333" y="1820639"/>
            <a:ext cx="3517207"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433" name="TextBox 1432">
            <a:extLst>
              <a:ext uri="{FF2B5EF4-FFF2-40B4-BE49-F238E27FC236}">
                <a16:creationId xmlns:a16="http://schemas.microsoft.com/office/drawing/2014/main" id="{14D303C8-F4D1-47E6-982F-1A9828E322A0}"/>
              </a:ext>
            </a:extLst>
          </p:cNvPr>
          <p:cNvSpPr txBox="1"/>
          <p:nvPr/>
        </p:nvSpPr>
        <p:spPr>
          <a:xfrm flipH="1">
            <a:off x="1006408" y="3815203"/>
            <a:ext cx="3364703"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652D90"/>
                </a:solidFill>
                <a:effectLst/>
                <a:uLnTx/>
                <a:uFillTx/>
                <a:latin typeface="Segoe UI Semibold"/>
                <a:ea typeface="+mn-ea"/>
                <a:cs typeface="Segoe UI Semibold" panose="020B0502040204020203" pitchFamily="34" charset="0"/>
              </a:rPr>
              <a:t>Reimagine retail</a:t>
            </a:r>
          </a:p>
        </p:txBody>
      </p:sp>
      <p:cxnSp>
        <p:nvCxnSpPr>
          <p:cNvPr id="1446" name="Straight Connector 1445">
            <a:extLst>
              <a:ext uri="{FF2B5EF4-FFF2-40B4-BE49-F238E27FC236}">
                <a16:creationId xmlns:a16="http://schemas.microsoft.com/office/drawing/2014/main" id="{1DD35203-BD30-4322-865E-5CFCC022E440}"/>
              </a:ext>
            </a:extLst>
          </p:cNvPr>
          <p:cNvCxnSpPr>
            <a:cxnSpLocks/>
          </p:cNvCxnSpPr>
          <p:nvPr/>
        </p:nvCxnSpPr>
        <p:spPr>
          <a:xfrm flipH="1">
            <a:off x="1006408" y="4234744"/>
            <a:ext cx="3364703"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475" name="TextBox 474">
            <a:extLst>
              <a:ext uri="{FF2B5EF4-FFF2-40B4-BE49-F238E27FC236}">
                <a16:creationId xmlns:a16="http://schemas.microsoft.com/office/drawing/2014/main" id="{9ED160D4-9995-4891-90ED-38E4EA2612E4}"/>
              </a:ext>
            </a:extLst>
          </p:cNvPr>
          <p:cNvSpPr txBox="1">
            <a:spLocks/>
          </p:cNvSpPr>
          <p:nvPr/>
        </p:nvSpPr>
        <p:spPr>
          <a:xfrm flipH="1">
            <a:off x="1543189" y="4357902"/>
            <a:ext cx="2827922" cy="1292662"/>
          </a:xfrm>
          <a:prstGeom prst="rect">
            <a:avLst/>
          </a:prstGeom>
          <a:noFill/>
        </p:spPr>
        <p:txBody>
          <a:bodyPr wrap="square" lIns="0" tIns="0" rIns="0" bIns="0" rtlCol="0" anchor="t">
            <a:noAutofit/>
          </a:bodyPr>
          <a:lstStyle/>
          <a:p>
            <a:pPr marL="0" marR="0" lvl="0" indent="0" algn="r" defTabSz="91436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a:rPr>
              <a:t>AI-native shoppers (currently ages </a:t>
            </a:r>
            <a:br>
              <a:rPr kumimoji="0" lang="en-US" sz="1400" b="0" i="0" u="none" strike="noStrike" kern="1200" cap="none" spc="0" normalizeH="0" baseline="0" noProof="0">
                <a:ln>
                  <a:noFill/>
                </a:ln>
                <a:solidFill>
                  <a:prstClr val="black"/>
                </a:solidFill>
                <a:effectLst/>
                <a:uLnTx/>
                <a:uFillTx/>
                <a:latin typeface="Segoe UI"/>
                <a:ea typeface="+mn-ea"/>
                <a:cs typeface="Segoe UI"/>
              </a:rPr>
            </a:br>
            <a:r>
              <a:rPr kumimoji="0" lang="en-US" sz="1400" b="0" i="0" u="none" strike="noStrike" kern="1200" cap="none" spc="0" normalizeH="0" baseline="0" noProof="0">
                <a:ln>
                  <a:noFill/>
                </a:ln>
                <a:solidFill>
                  <a:prstClr val="black"/>
                </a:solidFill>
                <a:effectLst/>
                <a:uLnTx/>
                <a:uFillTx/>
                <a:latin typeface="Segoe UI"/>
                <a:ea typeface="+mn-ea"/>
                <a:cs typeface="Segoe UI"/>
              </a:rPr>
              <a:t>5 to 9) are expected to give up product research in favor </a:t>
            </a:r>
            <a:br>
              <a:rPr kumimoji="0" lang="en-US" sz="1400" b="0" i="0" u="none" strike="noStrike" kern="1200" cap="none" spc="0" normalizeH="0" baseline="0" noProof="0">
                <a:ln>
                  <a:noFill/>
                </a:ln>
                <a:solidFill>
                  <a:prstClr val="black"/>
                </a:solidFill>
                <a:effectLst/>
                <a:uLnTx/>
                <a:uFillTx/>
                <a:latin typeface="Segoe UI"/>
                <a:ea typeface="+mn-ea"/>
                <a:cs typeface="Segoe UI"/>
              </a:rPr>
            </a:br>
            <a:r>
              <a:rPr kumimoji="0" lang="en-US" sz="1400" b="0" i="0" u="none" strike="noStrike" kern="1200" cap="none" spc="0" normalizeH="0" baseline="0" noProof="0">
                <a:ln>
                  <a:noFill/>
                </a:ln>
                <a:solidFill>
                  <a:prstClr val="black"/>
                </a:solidFill>
                <a:effectLst/>
                <a:uLnTx/>
                <a:uFillTx/>
                <a:latin typeface="Segoe UI"/>
                <a:ea typeface="+mn-ea"/>
                <a:cs typeface="Segoe UI"/>
              </a:rPr>
              <a:t>of </a:t>
            </a:r>
            <a:r>
              <a:rPr kumimoji="0" lang="en-US" sz="1400" b="0" i="0" u="none" strike="noStrike" kern="1200" cap="none" spc="0" normalizeH="0" baseline="0" noProof="0">
                <a:ln>
                  <a:noFill/>
                </a:ln>
                <a:solidFill>
                  <a:prstClr val="black"/>
                </a:solidFill>
                <a:effectLst/>
                <a:uLnTx/>
                <a:uFillTx/>
                <a:latin typeface="Segoe UI Semibold"/>
                <a:ea typeface="+mn-ea"/>
                <a:cs typeface="Segoe UI"/>
              </a:rPr>
              <a:t>relying on AI to provide </a:t>
            </a:r>
            <a:br>
              <a:rPr kumimoji="0" lang="en-US" sz="1400" b="0" i="0" u="none" strike="noStrike" kern="1200" cap="none" spc="0" normalizeH="0" baseline="0" noProof="0">
                <a:ln>
                  <a:noFill/>
                </a:ln>
                <a:solidFill>
                  <a:prstClr val="black"/>
                </a:solidFill>
                <a:effectLst/>
                <a:uLnTx/>
                <a:uFillTx/>
                <a:latin typeface="Segoe UI Semibold"/>
                <a:ea typeface="+mn-ea"/>
                <a:cs typeface="Segoe UI"/>
              </a:rPr>
            </a:br>
            <a:r>
              <a:rPr kumimoji="0" lang="en-US" sz="1400" b="0" i="0" u="none" strike="noStrike" kern="1200" cap="none" spc="0" normalizeH="0" baseline="0" noProof="0">
                <a:ln>
                  <a:noFill/>
                </a:ln>
                <a:solidFill>
                  <a:prstClr val="black"/>
                </a:solidFill>
                <a:effectLst/>
                <a:uLnTx/>
                <a:uFillTx/>
                <a:latin typeface="Segoe UI Semibold"/>
                <a:ea typeface="+mn-ea"/>
                <a:cs typeface="Segoe UI"/>
              </a:rPr>
              <a:t>best offerings </a:t>
            </a:r>
            <a:r>
              <a:rPr kumimoji="0" lang="en-US" sz="1400" b="0" i="0" u="none" strike="noStrike" kern="1200" cap="none" spc="0" normalizeH="0" baseline="0" noProof="0">
                <a:ln>
                  <a:noFill/>
                </a:ln>
                <a:solidFill>
                  <a:prstClr val="black"/>
                </a:solidFill>
                <a:effectLst/>
                <a:uLnTx/>
                <a:uFillTx/>
                <a:latin typeface="Segoe UI"/>
                <a:ea typeface="+mn-ea"/>
                <a:cs typeface="Segoe UI"/>
              </a:rPr>
              <a:t>preselected </a:t>
            </a:r>
            <a:br>
              <a:rPr kumimoji="0" lang="en-US" sz="1400" b="0" i="0" u="none" strike="noStrike" kern="1200" cap="none" spc="0" normalizeH="0" baseline="0" noProof="0">
                <a:ln>
                  <a:noFill/>
                </a:ln>
                <a:solidFill>
                  <a:prstClr val="black"/>
                </a:solidFill>
                <a:effectLst/>
                <a:uLnTx/>
                <a:uFillTx/>
                <a:latin typeface="Segoe UI"/>
                <a:ea typeface="+mn-ea"/>
                <a:cs typeface="Segoe UI"/>
              </a:rPr>
            </a:br>
            <a:r>
              <a:rPr kumimoji="0" lang="en-US" sz="1400" b="0" i="0" u="none" strike="noStrike" kern="1200" cap="none" spc="0" normalizeH="0" baseline="0" noProof="0">
                <a:ln>
                  <a:noFill/>
                </a:ln>
                <a:solidFill>
                  <a:prstClr val="black"/>
                </a:solidFill>
                <a:effectLst/>
                <a:uLnTx/>
                <a:uFillTx/>
                <a:latin typeface="Segoe UI"/>
                <a:ea typeface="+mn-ea"/>
                <a:cs typeface="Segoe UI"/>
              </a:rPr>
              <a:t>for them.</a:t>
            </a:r>
            <a:r>
              <a:rPr kumimoji="0" lang="en-US" sz="1400" b="0" i="0" u="none" strike="noStrike" kern="1200" cap="none" spc="0" normalizeH="0" baseline="30000" noProof="0">
                <a:ln>
                  <a:noFill/>
                </a:ln>
                <a:solidFill>
                  <a:prstClr val="black"/>
                </a:solidFill>
                <a:effectLst/>
                <a:uLnTx/>
                <a:uFillTx/>
                <a:latin typeface="Segoe UI"/>
                <a:ea typeface="+mn-ea"/>
                <a:cs typeface="Segoe UI"/>
              </a:rPr>
              <a:t>2</a:t>
            </a:r>
            <a:r>
              <a:rPr kumimoji="0" lang="en-US" sz="1400" b="0" i="0" u="none" strike="noStrike" kern="1200" cap="none" spc="0" normalizeH="0" baseline="0" noProof="0">
                <a:ln>
                  <a:noFill/>
                </a:ln>
                <a:solidFill>
                  <a:prstClr val="black"/>
                </a:solidFill>
                <a:effectLst/>
                <a:uLnTx/>
                <a:uFillTx/>
                <a:latin typeface="Segoe UI"/>
                <a:ea typeface="+mn-ea"/>
                <a:cs typeface="Segoe UI"/>
              </a:rPr>
              <a:t> </a:t>
            </a: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78" name="TextBox 477">
            <a:extLst>
              <a:ext uri="{FF2B5EF4-FFF2-40B4-BE49-F238E27FC236}">
                <a16:creationId xmlns:a16="http://schemas.microsoft.com/office/drawing/2014/main" id="{1C1AB3C3-E858-4B45-AC60-A733A1EF8AA6}"/>
              </a:ext>
            </a:extLst>
          </p:cNvPr>
          <p:cNvSpPr txBox="1"/>
          <p:nvPr/>
        </p:nvSpPr>
        <p:spPr>
          <a:xfrm flipH="1">
            <a:off x="757638" y="4739181"/>
            <a:ext cx="1141338" cy="615553"/>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CF588E"/>
                </a:solidFill>
                <a:effectLst/>
                <a:uLnTx/>
                <a:uFillTx/>
                <a:latin typeface="Segoe UI Semibold"/>
                <a:ea typeface="+mn-ea"/>
                <a:cs typeface="Segoe UI Semibold" panose="020B0502040204020203" pitchFamily="34" charset="0"/>
              </a:rPr>
              <a:t>650</a:t>
            </a:r>
            <a:r>
              <a:rPr kumimoji="0" lang="en-US" sz="2400" b="0" i="0" u="none" strike="noStrike" kern="1200" cap="none" spc="0" normalizeH="0" baseline="0" noProof="0">
                <a:ln>
                  <a:noFill/>
                </a:ln>
                <a:solidFill>
                  <a:srgbClr val="CF588E"/>
                </a:solidFill>
                <a:effectLst/>
                <a:uLnTx/>
                <a:uFillTx/>
                <a:latin typeface="Segoe UI Semibold"/>
                <a:ea typeface="+mn-ea"/>
                <a:cs typeface="Segoe UI Semibold" panose="020B0502040204020203" pitchFamily="34" charset="0"/>
              </a:rPr>
              <a:t>M</a:t>
            </a:r>
          </a:p>
        </p:txBody>
      </p:sp>
      <p:grpSp>
        <p:nvGrpSpPr>
          <p:cNvPr id="6" name="Group 5">
            <a:extLst>
              <a:ext uri="{FF2B5EF4-FFF2-40B4-BE49-F238E27FC236}">
                <a16:creationId xmlns:a16="http://schemas.microsoft.com/office/drawing/2014/main" id="{C224431E-CD01-4B64-95DA-29D8F29314C7}"/>
              </a:ext>
            </a:extLst>
          </p:cNvPr>
          <p:cNvGrpSpPr/>
          <p:nvPr/>
        </p:nvGrpSpPr>
        <p:grpSpPr>
          <a:xfrm>
            <a:off x="4667643" y="2098180"/>
            <a:ext cx="2853054" cy="2853054"/>
            <a:chOff x="4606151" y="2057473"/>
            <a:chExt cx="2853054" cy="2853054"/>
          </a:xfrm>
        </p:grpSpPr>
        <p:sp>
          <p:nvSpPr>
            <p:cNvPr id="3" name="Oval 2">
              <a:extLst>
                <a:ext uri="{FF2B5EF4-FFF2-40B4-BE49-F238E27FC236}">
                  <a16:creationId xmlns:a16="http://schemas.microsoft.com/office/drawing/2014/main" id="{3F674673-DCE1-478B-9DE6-0ABE868296EE}"/>
                </a:ext>
              </a:extLst>
            </p:cNvPr>
            <p:cNvSpPr/>
            <p:nvPr/>
          </p:nvSpPr>
          <p:spPr>
            <a:xfrm>
              <a:off x="4606151" y="2057473"/>
              <a:ext cx="2853054" cy="2853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684E889C-08D3-4A30-BC28-690F9D600498}"/>
                </a:ext>
              </a:extLst>
            </p:cNvPr>
            <p:cNvGrpSpPr/>
            <p:nvPr/>
          </p:nvGrpSpPr>
          <p:grpSpPr>
            <a:xfrm>
              <a:off x="4626442" y="2115535"/>
              <a:ext cx="2812472" cy="2736930"/>
              <a:chOff x="4591950" y="2125510"/>
              <a:chExt cx="2812472" cy="2736930"/>
            </a:xfrm>
          </p:grpSpPr>
          <p:grpSp>
            <p:nvGrpSpPr>
              <p:cNvPr id="420" name="Group 419">
                <a:extLst>
                  <a:ext uri="{FF2B5EF4-FFF2-40B4-BE49-F238E27FC236}">
                    <a16:creationId xmlns:a16="http://schemas.microsoft.com/office/drawing/2014/main" id="{0436FA5D-BF41-48C5-8DA0-874C53913197}"/>
                  </a:ext>
                </a:extLst>
              </p:cNvPr>
              <p:cNvGrpSpPr/>
              <p:nvPr/>
            </p:nvGrpSpPr>
            <p:grpSpPr>
              <a:xfrm>
                <a:off x="4591950" y="2125510"/>
                <a:ext cx="2812472" cy="2736930"/>
                <a:chOff x="4312787" y="1693684"/>
                <a:chExt cx="3566426" cy="3470633"/>
              </a:xfrm>
            </p:grpSpPr>
            <p:grpSp>
              <p:nvGrpSpPr>
                <p:cNvPr id="1202" name="Group 1201">
                  <a:extLst>
                    <a:ext uri="{FF2B5EF4-FFF2-40B4-BE49-F238E27FC236}">
                      <a16:creationId xmlns:a16="http://schemas.microsoft.com/office/drawing/2014/main" id="{D11CE583-2F6F-4D05-849E-5EE4CD217295}"/>
                    </a:ext>
                  </a:extLst>
                </p:cNvPr>
                <p:cNvGrpSpPr/>
                <p:nvPr/>
              </p:nvGrpSpPr>
              <p:grpSpPr>
                <a:xfrm>
                  <a:off x="4360807" y="1708204"/>
                  <a:ext cx="3479358" cy="3452762"/>
                  <a:chOff x="4625725" y="3279330"/>
                  <a:chExt cx="2922470" cy="4962716"/>
                </a:xfrm>
              </p:grpSpPr>
              <p:cxnSp>
                <p:nvCxnSpPr>
                  <p:cNvPr id="1240" name="Straight Connector 1239">
                    <a:extLst>
                      <a:ext uri="{FF2B5EF4-FFF2-40B4-BE49-F238E27FC236}">
                        <a16:creationId xmlns:a16="http://schemas.microsoft.com/office/drawing/2014/main" id="{A38BE0F9-1395-4602-8C0A-99BE2551E764}"/>
                      </a:ext>
                    </a:extLst>
                  </p:cNvPr>
                  <p:cNvCxnSpPr>
                    <a:cxnSpLocks/>
                  </p:cNvCxnSpPr>
                  <p:nvPr/>
                </p:nvCxnSpPr>
                <p:spPr>
                  <a:xfrm flipH="1" flipV="1">
                    <a:off x="5856825" y="3559079"/>
                    <a:ext cx="240120"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1" name="Straight Connector 1240">
                    <a:extLst>
                      <a:ext uri="{FF2B5EF4-FFF2-40B4-BE49-F238E27FC236}">
                        <a16:creationId xmlns:a16="http://schemas.microsoft.com/office/drawing/2014/main" id="{F34E8221-C8C3-4D93-9ABC-A3425DF08B58}"/>
                      </a:ext>
                    </a:extLst>
                  </p:cNvPr>
                  <p:cNvCxnSpPr>
                    <a:cxnSpLocks/>
                  </p:cNvCxnSpPr>
                  <p:nvPr/>
                </p:nvCxnSpPr>
                <p:spPr>
                  <a:xfrm flipH="1">
                    <a:off x="5783128"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2" name="Straight Connector 1241">
                    <a:extLst>
                      <a:ext uri="{FF2B5EF4-FFF2-40B4-BE49-F238E27FC236}">
                        <a16:creationId xmlns:a16="http://schemas.microsoft.com/office/drawing/2014/main" id="{B1A90075-5E61-4386-9374-6571254CB307}"/>
                      </a:ext>
                    </a:extLst>
                  </p:cNvPr>
                  <p:cNvCxnSpPr>
                    <a:cxnSpLocks/>
                  </p:cNvCxnSpPr>
                  <p:nvPr/>
                </p:nvCxnSpPr>
                <p:spPr>
                  <a:xfrm flipH="1" flipV="1">
                    <a:off x="5783128" y="4825017"/>
                    <a:ext cx="313817"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3" name="Straight Connector 1242">
                    <a:extLst>
                      <a:ext uri="{FF2B5EF4-FFF2-40B4-BE49-F238E27FC236}">
                        <a16:creationId xmlns:a16="http://schemas.microsoft.com/office/drawing/2014/main" id="{A8A65F00-84E6-4E9F-B70A-8E398C9B8612}"/>
                      </a:ext>
                    </a:extLst>
                  </p:cNvPr>
                  <p:cNvCxnSpPr>
                    <a:cxnSpLocks/>
                  </p:cNvCxnSpPr>
                  <p:nvPr/>
                </p:nvCxnSpPr>
                <p:spPr>
                  <a:xfrm>
                    <a:off x="5691008"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4" name="Straight Connector 1243">
                    <a:extLst>
                      <a:ext uri="{FF2B5EF4-FFF2-40B4-BE49-F238E27FC236}">
                        <a16:creationId xmlns:a16="http://schemas.microsoft.com/office/drawing/2014/main" id="{F11965C7-2575-45A8-8CEB-8121A10717FD}"/>
                      </a:ext>
                    </a:extLst>
                  </p:cNvPr>
                  <p:cNvCxnSpPr>
                    <a:cxnSpLocks/>
                  </p:cNvCxnSpPr>
                  <p:nvPr/>
                </p:nvCxnSpPr>
                <p:spPr>
                  <a:xfrm flipV="1">
                    <a:off x="5540544"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5" name="Straight Connector 1244">
                    <a:extLst>
                      <a:ext uri="{FF2B5EF4-FFF2-40B4-BE49-F238E27FC236}">
                        <a16:creationId xmlns:a16="http://schemas.microsoft.com/office/drawing/2014/main" id="{5F1CFDEF-DE37-45E2-8C87-E8E59F2B790F}"/>
                      </a:ext>
                    </a:extLst>
                  </p:cNvPr>
                  <p:cNvCxnSpPr>
                    <a:cxnSpLocks/>
                  </p:cNvCxnSpPr>
                  <p:nvPr/>
                </p:nvCxnSpPr>
                <p:spPr>
                  <a:xfrm>
                    <a:off x="5542079"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6" name="Straight Connector 1245">
                    <a:extLst>
                      <a:ext uri="{FF2B5EF4-FFF2-40B4-BE49-F238E27FC236}">
                        <a16:creationId xmlns:a16="http://schemas.microsoft.com/office/drawing/2014/main" id="{D958BA23-54E4-4CF1-9241-42EA963AB9A9}"/>
                      </a:ext>
                    </a:extLst>
                  </p:cNvPr>
                  <p:cNvCxnSpPr>
                    <a:cxnSpLocks/>
                  </p:cNvCxnSpPr>
                  <p:nvPr/>
                </p:nvCxnSpPr>
                <p:spPr>
                  <a:xfrm flipV="1">
                    <a:off x="5460962"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7" name="Straight Connector 1246">
                    <a:extLst>
                      <a:ext uri="{FF2B5EF4-FFF2-40B4-BE49-F238E27FC236}">
                        <a16:creationId xmlns:a16="http://schemas.microsoft.com/office/drawing/2014/main" id="{026DC55D-5E11-4445-978C-3C3680E65641}"/>
                      </a:ext>
                    </a:extLst>
                  </p:cNvPr>
                  <p:cNvCxnSpPr>
                    <a:cxnSpLocks/>
                  </p:cNvCxnSpPr>
                  <p:nvPr/>
                </p:nvCxnSpPr>
                <p:spPr>
                  <a:xfrm>
                    <a:off x="5376039"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8" name="Straight Connector 1247">
                    <a:extLst>
                      <a:ext uri="{FF2B5EF4-FFF2-40B4-BE49-F238E27FC236}">
                        <a16:creationId xmlns:a16="http://schemas.microsoft.com/office/drawing/2014/main" id="{8C40A63D-D5F6-4055-99B1-127F221003F8}"/>
                      </a:ext>
                    </a:extLst>
                  </p:cNvPr>
                  <p:cNvCxnSpPr>
                    <a:cxnSpLocks/>
                  </p:cNvCxnSpPr>
                  <p:nvPr/>
                </p:nvCxnSpPr>
                <p:spPr>
                  <a:xfrm flipV="1">
                    <a:off x="5109573"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9" name="Straight Connector 1248">
                    <a:extLst>
                      <a:ext uri="{FF2B5EF4-FFF2-40B4-BE49-F238E27FC236}">
                        <a16:creationId xmlns:a16="http://schemas.microsoft.com/office/drawing/2014/main" id="{DB1CDABA-E6EC-4B06-87C2-9F2A6CDCE330}"/>
                      </a:ext>
                    </a:extLst>
                  </p:cNvPr>
                  <p:cNvCxnSpPr>
                    <a:cxnSpLocks/>
                  </p:cNvCxnSpPr>
                  <p:nvPr/>
                </p:nvCxnSpPr>
                <p:spPr>
                  <a:xfrm>
                    <a:off x="5109573"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0" name="Straight Connector 1249">
                    <a:extLst>
                      <a:ext uri="{FF2B5EF4-FFF2-40B4-BE49-F238E27FC236}">
                        <a16:creationId xmlns:a16="http://schemas.microsoft.com/office/drawing/2014/main" id="{396F3EFA-2022-41C9-AB64-86E7CF46E4CC}"/>
                      </a:ext>
                    </a:extLst>
                  </p:cNvPr>
                  <p:cNvCxnSpPr>
                    <a:cxnSpLocks/>
                  </p:cNvCxnSpPr>
                  <p:nvPr/>
                </p:nvCxnSpPr>
                <p:spPr>
                  <a:xfrm flipV="1">
                    <a:off x="4985508"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1" name="Straight Connector 1250">
                    <a:extLst>
                      <a:ext uri="{FF2B5EF4-FFF2-40B4-BE49-F238E27FC236}">
                        <a16:creationId xmlns:a16="http://schemas.microsoft.com/office/drawing/2014/main" id="{F3AC7C23-293E-4596-AD0A-A846E332C638}"/>
                      </a:ext>
                    </a:extLst>
                  </p:cNvPr>
                  <p:cNvCxnSpPr>
                    <a:cxnSpLocks/>
                  </p:cNvCxnSpPr>
                  <p:nvPr/>
                </p:nvCxnSpPr>
                <p:spPr>
                  <a:xfrm flipH="1">
                    <a:off x="5408121"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2" name="Straight Connector 1251">
                    <a:extLst>
                      <a:ext uri="{FF2B5EF4-FFF2-40B4-BE49-F238E27FC236}">
                        <a16:creationId xmlns:a16="http://schemas.microsoft.com/office/drawing/2014/main" id="{1C0AB5DA-302F-402D-AAF3-DB5355D970A9}"/>
                      </a:ext>
                    </a:extLst>
                  </p:cNvPr>
                  <p:cNvCxnSpPr>
                    <a:cxnSpLocks/>
                  </p:cNvCxnSpPr>
                  <p:nvPr/>
                </p:nvCxnSpPr>
                <p:spPr>
                  <a:xfrm flipH="1" flipV="1">
                    <a:off x="5405078"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3" name="Straight Connector 1252">
                    <a:extLst>
                      <a:ext uri="{FF2B5EF4-FFF2-40B4-BE49-F238E27FC236}">
                        <a16:creationId xmlns:a16="http://schemas.microsoft.com/office/drawing/2014/main" id="{687C5222-790B-4D76-B75A-EB4DC6F375C6}"/>
                      </a:ext>
                    </a:extLst>
                  </p:cNvPr>
                  <p:cNvCxnSpPr>
                    <a:cxnSpLocks/>
                  </p:cNvCxnSpPr>
                  <p:nvPr/>
                </p:nvCxnSpPr>
                <p:spPr>
                  <a:xfrm flipH="1">
                    <a:off x="5221289"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4" name="Straight Connector 1253">
                    <a:extLst>
                      <a:ext uri="{FF2B5EF4-FFF2-40B4-BE49-F238E27FC236}">
                        <a16:creationId xmlns:a16="http://schemas.microsoft.com/office/drawing/2014/main" id="{B5A7645B-5B27-40DA-B4B9-2242B474AD3E}"/>
                      </a:ext>
                    </a:extLst>
                  </p:cNvPr>
                  <p:cNvCxnSpPr>
                    <a:cxnSpLocks/>
                  </p:cNvCxnSpPr>
                  <p:nvPr/>
                </p:nvCxnSpPr>
                <p:spPr>
                  <a:xfrm flipH="1" flipV="1">
                    <a:off x="522128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5" name="Straight Connector 1254">
                    <a:extLst>
                      <a:ext uri="{FF2B5EF4-FFF2-40B4-BE49-F238E27FC236}">
                        <a16:creationId xmlns:a16="http://schemas.microsoft.com/office/drawing/2014/main" id="{B2B15269-CDF7-431B-A110-C5E2FEC4D48A}"/>
                      </a:ext>
                    </a:extLst>
                  </p:cNvPr>
                  <p:cNvCxnSpPr>
                    <a:cxnSpLocks/>
                  </p:cNvCxnSpPr>
                  <p:nvPr/>
                </p:nvCxnSpPr>
                <p:spPr>
                  <a:xfrm>
                    <a:off x="5094848"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6" name="Straight Connector 1255">
                    <a:extLst>
                      <a:ext uri="{FF2B5EF4-FFF2-40B4-BE49-F238E27FC236}">
                        <a16:creationId xmlns:a16="http://schemas.microsoft.com/office/drawing/2014/main" id="{B64414DD-7AA6-4A4C-8BF1-E66E290955A4}"/>
                      </a:ext>
                    </a:extLst>
                  </p:cNvPr>
                  <p:cNvCxnSpPr>
                    <a:cxnSpLocks/>
                  </p:cNvCxnSpPr>
                  <p:nvPr/>
                </p:nvCxnSpPr>
                <p:spPr>
                  <a:xfrm flipV="1">
                    <a:off x="4853288"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7" name="Straight Connector 1256">
                    <a:extLst>
                      <a:ext uri="{FF2B5EF4-FFF2-40B4-BE49-F238E27FC236}">
                        <a16:creationId xmlns:a16="http://schemas.microsoft.com/office/drawing/2014/main" id="{4556494E-7C22-4DFC-98D4-42382A1D6DFE}"/>
                      </a:ext>
                    </a:extLst>
                  </p:cNvPr>
                  <p:cNvCxnSpPr>
                    <a:cxnSpLocks/>
                  </p:cNvCxnSpPr>
                  <p:nvPr/>
                </p:nvCxnSpPr>
                <p:spPr>
                  <a:xfrm>
                    <a:off x="4852915"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8" name="Straight Connector 1257">
                    <a:extLst>
                      <a:ext uri="{FF2B5EF4-FFF2-40B4-BE49-F238E27FC236}">
                        <a16:creationId xmlns:a16="http://schemas.microsoft.com/office/drawing/2014/main" id="{72B61DD3-9327-4B1B-8B15-8AF7C3B2847E}"/>
                      </a:ext>
                    </a:extLst>
                  </p:cNvPr>
                  <p:cNvCxnSpPr>
                    <a:cxnSpLocks/>
                  </p:cNvCxnSpPr>
                  <p:nvPr/>
                </p:nvCxnSpPr>
                <p:spPr>
                  <a:xfrm flipV="1">
                    <a:off x="4713636"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9" name="Straight Connector 1258">
                    <a:extLst>
                      <a:ext uri="{FF2B5EF4-FFF2-40B4-BE49-F238E27FC236}">
                        <a16:creationId xmlns:a16="http://schemas.microsoft.com/office/drawing/2014/main" id="{1244097B-7D3F-43ED-BAE3-A406284CF3E2}"/>
                      </a:ext>
                    </a:extLst>
                  </p:cNvPr>
                  <p:cNvCxnSpPr>
                    <a:cxnSpLocks/>
                  </p:cNvCxnSpPr>
                  <p:nvPr/>
                </p:nvCxnSpPr>
                <p:spPr>
                  <a:xfrm>
                    <a:off x="4841964"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0" name="Straight Connector 1259">
                    <a:extLst>
                      <a:ext uri="{FF2B5EF4-FFF2-40B4-BE49-F238E27FC236}">
                        <a16:creationId xmlns:a16="http://schemas.microsoft.com/office/drawing/2014/main" id="{C46704E6-45D0-4D69-8624-BAA65F9188B2}"/>
                      </a:ext>
                    </a:extLst>
                  </p:cNvPr>
                  <p:cNvCxnSpPr>
                    <a:cxnSpLocks/>
                  </p:cNvCxnSpPr>
                  <p:nvPr/>
                </p:nvCxnSpPr>
                <p:spPr>
                  <a:xfrm>
                    <a:off x="4672117"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1" name="Straight Connector 1260">
                    <a:extLst>
                      <a:ext uri="{FF2B5EF4-FFF2-40B4-BE49-F238E27FC236}">
                        <a16:creationId xmlns:a16="http://schemas.microsoft.com/office/drawing/2014/main" id="{77F8E834-989B-4A0B-BDAB-8C681C631928}"/>
                      </a:ext>
                    </a:extLst>
                  </p:cNvPr>
                  <p:cNvCxnSpPr/>
                  <p:nvPr/>
                </p:nvCxnSpPr>
                <p:spPr>
                  <a:xfrm flipV="1">
                    <a:off x="5404187"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2" name="Straight Connector 1261">
                    <a:extLst>
                      <a:ext uri="{FF2B5EF4-FFF2-40B4-BE49-F238E27FC236}">
                        <a16:creationId xmlns:a16="http://schemas.microsoft.com/office/drawing/2014/main" id="{4F1E26FF-9AD2-41AD-8EBA-8D3B92E51BF2}"/>
                      </a:ext>
                    </a:extLst>
                  </p:cNvPr>
                  <p:cNvCxnSpPr>
                    <a:cxnSpLocks/>
                  </p:cNvCxnSpPr>
                  <p:nvPr/>
                </p:nvCxnSpPr>
                <p:spPr>
                  <a:xfrm flipV="1">
                    <a:off x="553629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3" name="Straight Connector 1262">
                    <a:extLst>
                      <a:ext uri="{FF2B5EF4-FFF2-40B4-BE49-F238E27FC236}">
                        <a16:creationId xmlns:a16="http://schemas.microsoft.com/office/drawing/2014/main" id="{CBF8958C-BA26-401B-8719-1B119B03876A}"/>
                      </a:ext>
                    </a:extLst>
                  </p:cNvPr>
                  <p:cNvCxnSpPr>
                    <a:cxnSpLocks/>
                  </p:cNvCxnSpPr>
                  <p:nvPr/>
                </p:nvCxnSpPr>
                <p:spPr>
                  <a:xfrm flipV="1">
                    <a:off x="5223017"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4" name="Straight Connector 1263">
                    <a:extLst>
                      <a:ext uri="{FF2B5EF4-FFF2-40B4-BE49-F238E27FC236}">
                        <a16:creationId xmlns:a16="http://schemas.microsoft.com/office/drawing/2014/main" id="{2262F7A4-1554-4ED2-A868-A744A7FEA9B3}"/>
                      </a:ext>
                    </a:extLst>
                  </p:cNvPr>
                  <p:cNvCxnSpPr>
                    <a:cxnSpLocks/>
                  </p:cNvCxnSpPr>
                  <p:nvPr/>
                </p:nvCxnSpPr>
                <p:spPr>
                  <a:xfrm flipV="1">
                    <a:off x="4851241"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5" name="Straight Connector 1264">
                    <a:extLst>
                      <a:ext uri="{FF2B5EF4-FFF2-40B4-BE49-F238E27FC236}">
                        <a16:creationId xmlns:a16="http://schemas.microsoft.com/office/drawing/2014/main" id="{77C8DBC5-F91C-43E9-B621-CEE92372570C}"/>
                      </a:ext>
                    </a:extLst>
                  </p:cNvPr>
                  <p:cNvCxnSpPr>
                    <a:cxnSpLocks/>
                  </p:cNvCxnSpPr>
                  <p:nvPr/>
                </p:nvCxnSpPr>
                <p:spPr>
                  <a:xfrm flipV="1">
                    <a:off x="5113560"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6" name="Straight Connector 1265">
                    <a:extLst>
                      <a:ext uri="{FF2B5EF4-FFF2-40B4-BE49-F238E27FC236}">
                        <a16:creationId xmlns:a16="http://schemas.microsoft.com/office/drawing/2014/main" id="{9732D452-86B9-40FE-B5B7-59EB77362BCD}"/>
                      </a:ext>
                    </a:extLst>
                  </p:cNvPr>
                  <p:cNvCxnSpPr>
                    <a:cxnSpLocks/>
                  </p:cNvCxnSpPr>
                  <p:nvPr/>
                </p:nvCxnSpPr>
                <p:spPr>
                  <a:xfrm flipV="1">
                    <a:off x="483803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7" name="Straight Connector 1266">
                    <a:extLst>
                      <a:ext uri="{FF2B5EF4-FFF2-40B4-BE49-F238E27FC236}">
                        <a16:creationId xmlns:a16="http://schemas.microsoft.com/office/drawing/2014/main" id="{229285B5-9911-4105-A4B7-30F42E6B65BD}"/>
                      </a:ext>
                    </a:extLst>
                  </p:cNvPr>
                  <p:cNvCxnSpPr>
                    <a:cxnSpLocks/>
                  </p:cNvCxnSpPr>
                  <p:nvPr/>
                </p:nvCxnSpPr>
                <p:spPr>
                  <a:xfrm flipV="1">
                    <a:off x="4670071"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8" name="Straight Connector 1267">
                    <a:extLst>
                      <a:ext uri="{FF2B5EF4-FFF2-40B4-BE49-F238E27FC236}">
                        <a16:creationId xmlns:a16="http://schemas.microsoft.com/office/drawing/2014/main" id="{4ECCC349-C1C3-407D-9056-C0DA3190E38F}"/>
                      </a:ext>
                    </a:extLst>
                  </p:cNvPr>
                  <p:cNvCxnSpPr>
                    <a:cxnSpLocks/>
                  </p:cNvCxnSpPr>
                  <p:nvPr/>
                </p:nvCxnSpPr>
                <p:spPr>
                  <a:xfrm flipV="1">
                    <a:off x="5092801"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9" name="Straight Connector 1268">
                    <a:extLst>
                      <a:ext uri="{FF2B5EF4-FFF2-40B4-BE49-F238E27FC236}">
                        <a16:creationId xmlns:a16="http://schemas.microsoft.com/office/drawing/2014/main" id="{C62EDE04-793C-401B-99CE-23B09E24290B}"/>
                      </a:ext>
                    </a:extLst>
                  </p:cNvPr>
                  <p:cNvCxnSpPr>
                    <a:cxnSpLocks/>
                  </p:cNvCxnSpPr>
                  <p:nvPr/>
                </p:nvCxnSpPr>
                <p:spPr>
                  <a:xfrm flipH="1">
                    <a:off x="5856825" y="3279330"/>
                    <a:ext cx="240121" cy="27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0" name="Straight Connector 1269">
                    <a:extLst>
                      <a:ext uri="{FF2B5EF4-FFF2-40B4-BE49-F238E27FC236}">
                        <a16:creationId xmlns:a16="http://schemas.microsoft.com/office/drawing/2014/main" id="{2D984755-76CF-441B-A3E0-3FCB21037396}"/>
                      </a:ext>
                    </a:extLst>
                  </p:cNvPr>
                  <p:cNvCxnSpPr>
                    <a:cxnSpLocks/>
                  </p:cNvCxnSpPr>
                  <p:nvPr/>
                </p:nvCxnSpPr>
                <p:spPr>
                  <a:xfrm>
                    <a:off x="6098192" y="3282531"/>
                    <a:ext cx="236443" cy="2765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1" name="Straight Connector 1270">
                    <a:extLst>
                      <a:ext uri="{FF2B5EF4-FFF2-40B4-BE49-F238E27FC236}">
                        <a16:creationId xmlns:a16="http://schemas.microsoft.com/office/drawing/2014/main" id="{02C686CD-36E4-43E8-8E75-3CC9FEE390A1}"/>
                      </a:ext>
                    </a:extLst>
                  </p:cNvPr>
                  <p:cNvCxnSpPr>
                    <a:cxnSpLocks/>
                  </p:cNvCxnSpPr>
                  <p:nvPr/>
                </p:nvCxnSpPr>
                <p:spPr>
                  <a:xfrm flipV="1">
                    <a:off x="6096945" y="3559079"/>
                    <a:ext cx="237689"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2" name="Straight Connector 1271">
                    <a:extLst>
                      <a:ext uri="{FF2B5EF4-FFF2-40B4-BE49-F238E27FC236}">
                        <a16:creationId xmlns:a16="http://schemas.microsoft.com/office/drawing/2014/main" id="{B7452A09-2C30-45FA-AB23-77F47196C51E}"/>
                      </a:ext>
                    </a:extLst>
                  </p:cNvPr>
                  <p:cNvCxnSpPr>
                    <a:cxnSpLocks/>
                  </p:cNvCxnSpPr>
                  <p:nvPr/>
                </p:nvCxnSpPr>
                <p:spPr>
                  <a:xfrm>
                    <a:off x="6098193"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3" name="Straight Connector 1272">
                    <a:extLst>
                      <a:ext uri="{FF2B5EF4-FFF2-40B4-BE49-F238E27FC236}">
                        <a16:creationId xmlns:a16="http://schemas.microsoft.com/office/drawing/2014/main" id="{B83C5087-CCA8-45C6-A0C9-D2EF937D1DEA}"/>
                      </a:ext>
                    </a:extLst>
                  </p:cNvPr>
                  <p:cNvCxnSpPr>
                    <a:cxnSpLocks/>
                  </p:cNvCxnSpPr>
                  <p:nvPr/>
                </p:nvCxnSpPr>
                <p:spPr>
                  <a:xfrm flipV="1">
                    <a:off x="6095058" y="4825017"/>
                    <a:ext cx="313273"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4" name="Straight Connector 1273">
                    <a:extLst>
                      <a:ext uri="{FF2B5EF4-FFF2-40B4-BE49-F238E27FC236}">
                        <a16:creationId xmlns:a16="http://schemas.microsoft.com/office/drawing/2014/main" id="{92CF1001-14BD-4FD7-8254-8EC528D6221A}"/>
                      </a:ext>
                    </a:extLst>
                  </p:cNvPr>
                  <p:cNvCxnSpPr>
                    <a:cxnSpLocks/>
                  </p:cNvCxnSpPr>
                  <p:nvPr/>
                </p:nvCxnSpPr>
                <p:spPr>
                  <a:xfrm flipH="1">
                    <a:off x="6334635"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5" name="Straight Connector 1274">
                    <a:extLst>
                      <a:ext uri="{FF2B5EF4-FFF2-40B4-BE49-F238E27FC236}">
                        <a16:creationId xmlns:a16="http://schemas.microsoft.com/office/drawing/2014/main" id="{1737ED12-9BF0-4EFF-9DCB-A90ACEDE9E6C}"/>
                      </a:ext>
                    </a:extLst>
                  </p:cNvPr>
                  <p:cNvCxnSpPr>
                    <a:cxnSpLocks/>
                  </p:cNvCxnSpPr>
                  <p:nvPr/>
                </p:nvCxnSpPr>
                <p:spPr>
                  <a:xfrm flipH="1" flipV="1">
                    <a:off x="6334636"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6" name="Straight Connector 1275">
                    <a:extLst>
                      <a:ext uri="{FF2B5EF4-FFF2-40B4-BE49-F238E27FC236}">
                        <a16:creationId xmlns:a16="http://schemas.microsoft.com/office/drawing/2014/main" id="{768F4AAE-A9D0-46F6-B0AC-E6D2FD6DA240}"/>
                      </a:ext>
                    </a:extLst>
                  </p:cNvPr>
                  <p:cNvCxnSpPr>
                    <a:cxnSpLocks/>
                  </p:cNvCxnSpPr>
                  <p:nvPr/>
                </p:nvCxnSpPr>
                <p:spPr>
                  <a:xfrm flipH="1">
                    <a:off x="6407788"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7" name="Straight Connector 1276">
                    <a:extLst>
                      <a:ext uri="{FF2B5EF4-FFF2-40B4-BE49-F238E27FC236}">
                        <a16:creationId xmlns:a16="http://schemas.microsoft.com/office/drawing/2014/main" id="{8DBF3366-4A02-44C6-AA13-AD348322C609}"/>
                      </a:ext>
                    </a:extLst>
                  </p:cNvPr>
                  <p:cNvCxnSpPr>
                    <a:cxnSpLocks/>
                  </p:cNvCxnSpPr>
                  <p:nvPr/>
                </p:nvCxnSpPr>
                <p:spPr>
                  <a:xfrm flipH="1" flipV="1">
                    <a:off x="6409676"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8" name="Straight Connector 1277">
                    <a:extLst>
                      <a:ext uri="{FF2B5EF4-FFF2-40B4-BE49-F238E27FC236}">
                        <a16:creationId xmlns:a16="http://schemas.microsoft.com/office/drawing/2014/main" id="{FF0183A5-93F4-4ECD-B8CD-A11CAB498FB8}"/>
                      </a:ext>
                    </a:extLst>
                  </p:cNvPr>
                  <p:cNvCxnSpPr>
                    <a:cxnSpLocks/>
                  </p:cNvCxnSpPr>
                  <p:nvPr/>
                </p:nvCxnSpPr>
                <p:spPr>
                  <a:xfrm flipH="1">
                    <a:off x="6787272"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9" name="Straight Connector 1278">
                    <a:extLst>
                      <a:ext uri="{FF2B5EF4-FFF2-40B4-BE49-F238E27FC236}">
                        <a16:creationId xmlns:a16="http://schemas.microsoft.com/office/drawing/2014/main" id="{44F00BCB-10FF-4E87-BC68-8AF312BABAD4}"/>
                      </a:ext>
                    </a:extLst>
                  </p:cNvPr>
                  <p:cNvCxnSpPr>
                    <a:cxnSpLocks/>
                  </p:cNvCxnSpPr>
                  <p:nvPr/>
                </p:nvCxnSpPr>
                <p:spPr>
                  <a:xfrm flipH="1" flipV="1">
                    <a:off x="6787114"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0" name="Straight Connector 1279">
                    <a:extLst>
                      <a:ext uri="{FF2B5EF4-FFF2-40B4-BE49-F238E27FC236}">
                        <a16:creationId xmlns:a16="http://schemas.microsoft.com/office/drawing/2014/main" id="{F93D40EF-E879-4E48-AD72-4A260EF2382D}"/>
                      </a:ext>
                    </a:extLst>
                  </p:cNvPr>
                  <p:cNvCxnSpPr>
                    <a:cxnSpLocks/>
                  </p:cNvCxnSpPr>
                  <p:nvPr/>
                </p:nvCxnSpPr>
                <p:spPr>
                  <a:xfrm flipH="1">
                    <a:off x="6971092"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1" name="Straight Connector 1280">
                    <a:extLst>
                      <a:ext uri="{FF2B5EF4-FFF2-40B4-BE49-F238E27FC236}">
                        <a16:creationId xmlns:a16="http://schemas.microsoft.com/office/drawing/2014/main" id="{9E886642-1753-48EE-9B86-6239418DEB81}"/>
                      </a:ext>
                    </a:extLst>
                  </p:cNvPr>
                  <p:cNvCxnSpPr>
                    <a:cxnSpLocks/>
                  </p:cNvCxnSpPr>
                  <p:nvPr/>
                </p:nvCxnSpPr>
                <p:spPr>
                  <a:xfrm flipH="1" flipV="1">
                    <a:off x="6970171"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2" name="Straight Connector 1281">
                    <a:extLst>
                      <a:ext uri="{FF2B5EF4-FFF2-40B4-BE49-F238E27FC236}">
                        <a16:creationId xmlns:a16="http://schemas.microsoft.com/office/drawing/2014/main" id="{1D086501-C8DD-4F3B-9F0F-084A7536BADB}"/>
                      </a:ext>
                    </a:extLst>
                  </p:cNvPr>
                  <p:cNvCxnSpPr>
                    <a:cxnSpLocks/>
                  </p:cNvCxnSpPr>
                  <p:nvPr/>
                </p:nvCxnSpPr>
                <p:spPr>
                  <a:xfrm>
                    <a:off x="6500452"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3" name="Straight Connector 1282">
                    <a:extLst>
                      <a:ext uri="{FF2B5EF4-FFF2-40B4-BE49-F238E27FC236}">
                        <a16:creationId xmlns:a16="http://schemas.microsoft.com/office/drawing/2014/main" id="{35FB9A9C-5FB6-4376-A8CF-1B148454889B}"/>
                      </a:ext>
                    </a:extLst>
                  </p:cNvPr>
                  <p:cNvCxnSpPr>
                    <a:cxnSpLocks/>
                  </p:cNvCxnSpPr>
                  <p:nvPr/>
                </p:nvCxnSpPr>
                <p:spPr>
                  <a:xfrm flipV="1">
                    <a:off x="6651235"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4" name="Straight Connector 1283">
                    <a:extLst>
                      <a:ext uri="{FF2B5EF4-FFF2-40B4-BE49-F238E27FC236}">
                        <a16:creationId xmlns:a16="http://schemas.microsoft.com/office/drawing/2014/main" id="{1B50307A-C9F6-4276-8D4B-DA4EE03794E8}"/>
                      </a:ext>
                    </a:extLst>
                  </p:cNvPr>
                  <p:cNvCxnSpPr>
                    <a:cxnSpLocks/>
                  </p:cNvCxnSpPr>
                  <p:nvPr/>
                </p:nvCxnSpPr>
                <p:spPr>
                  <a:xfrm>
                    <a:off x="6653122"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5" name="Straight Connector 1284">
                    <a:extLst>
                      <a:ext uri="{FF2B5EF4-FFF2-40B4-BE49-F238E27FC236}">
                        <a16:creationId xmlns:a16="http://schemas.microsoft.com/office/drawing/2014/main" id="{AD358CA8-B0C4-4976-935A-61CED6ECC607}"/>
                      </a:ext>
                    </a:extLst>
                  </p:cNvPr>
                  <p:cNvCxnSpPr>
                    <a:cxnSpLocks/>
                  </p:cNvCxnSpPr>
                  <p:nvPr/>
                </p:nvCxnSpPr>
                <p:spPr>
                  <a:xfrm flipV="1">
                    <a:off x="672860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6" name="Straight Connector 1285">
                    <a:extLst>
                      <a:ext uri="{FF2B5EF4-FFF2-40B4-BE49-F238E27FC236}">
                        <a16:creationId xmlns:a16="http://schemas.microsoft.com/office/drawing/2014/main" id="{AE0A4694-D1B8-4C68-AD4A-C17890C3E455}"/>
                      </a:ext>
                    </a:extLst>
                  </p:cNvPr>
                  <p:cNvCxnSpPr>
                    <a:cxnSpLocks/>
                  </p:cNvCxnSpPr>
                  <p:nvPr/>
                </p:nvCxnSpPr>
                <p:spPr>
                  <a:xfrm flipH="1">
                    <a:off x="7083561"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7" name="Straight Connector 1286">
                    <a:extLst>
                      <a:ext uri="{FF2B5EF4-FFF2-40B4-BE49-F238E27FC236}">
                        <a16:creationId xmlns:a16="http://schemas.microsoft.com/office/drawing/2014/main" id="{065083D0-65DA-4120-8B39-048173ED9EB4}"/>
                      </a:ext>
                    </a:extLst>
                  </p:cNvPr>
                  <p:cNvCxnSpPr>
                    <a:cxnSpLocks/>
                  </p:cNvCxnSpPr>
                  <p:nvPr/>
                </p:nvCxnSpPr>
                <p:spPr>
                  <a:xfrm flipH="1" flipV="1">
                    <a:off x="7081515"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8" name="Straight Connector 1287">
                    <a:extLst>
                      <a:ext uri="{FF2B5EF4-FFF2-40B4-BE49-F238E27FC236}">
                        <a16:creationId xmlns:a16="http://schemas.microsoft.com/office/drawing/2014/main" id="{5506327D-89AA-44D8-9566-57F48CEC9987}"/>
                      </a:ext>
                    </a:extLst>
                  </p:cNvPr>
                  <p:cNvCxnSpPr>
                    <a:cxnSpLocks/>
                  </p:cNvCxnSpPr>
                  <p:nvPr/>
                </p:nvCxnSpPr>
                <p:spPr>
                  <a:xfrm flipH="1">
                    <a:off x="7206069"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9" name="Straight Connector 1288">
                    <a:extLst>
                      <a:ext uri="{FF2B5EF4-FFF2-40B4-BE49-F238E27FC236}">
                        <a16:creationId xmlns:a16="http://schemas.microsoft.com/office/drawing/2014/main" id="{DB0B329F-E5F8-43B1-814B-E39830791287}"/>
                      </a:ext>
                    </a:extLst>
                  </p:cNvPr>
                  <p:cNvCxnSpPr>
                    <a:cxnSpLocks/>
                  </p:cNvCxnSpPr>
                  <p:nvPr/>
                </p:nvCxnSpPr>
                <p:spPr>
                  <a:xfrm flipH="1" flipV="1">
                    <a:off x="7338172"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0" name="Straight Connector 1289">
                    <a:extLst>
                      <a:ext uri="{FF2B5EF4-FFF2-40B4-BE49-F238E27FC236}">
                        <a16:creationId xmlns:a16="http://schemas.microsoft.com/office/drawing/2014/main" id="{17AD43CB-E199-46B3-AFB8-7EF15C0E7611}"/>
                      </a:ext>
                    </a:extLst>
                  </p:cNvPr>
                  <p:cNvCxnSpPr>
                    <a:cxnSpLocks/>
                  </p:cNvCxnSpPr>
                  <p:nvPr/>
                </p:nvCxnSpPr>
                <p:spPr>
                  <a:xfrm flipH="1">
                    <a:off x="7338172"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1" name="Straight Connector 1290">
                    <a:extLst>
                      <a:ext uri="{FF2B5EF4-FFF2-40B4-BE49-F238E27FC236}">
                        <a16:creationId xmlns:a16="http://schemas.microsoft.com/office/drawing/2014/main" id="{ED9310B8-37EB-4E96-903E-4239B94E4B9A}"/>
                      </a:ext>
                    </a:extLst>
                  </p:cNvPr>
                  <p:cNvCxnSpPr>
                    <a:cxnSpLocks/>
                  </p:cNvCxnSpPr>
                  <p:nvPr/>
                </p:nvCxnSpPr>
                <p:spPr>
                  <a:xfrm flipH="1">
                    <a:off x="7479712"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2" name="Straight Connector 1291">
                    <a:extLst>
                      <a:ext uri="{FF2B5EF4-FFF2-40B4-BE49-F238E27FC236}">
                        <a16:creationId xmlns:a16="http://schemas.microsoft.com/office/drawing/2014/main" id="{9DA20C5E-B06E-41A3-AFEB-656CC2BFF3C1}"/>
                      </a:ext>
                    </a:extLst>
                  </p:cNvPr>
                  <p:cNvCxnSpPr/>
                  <p:nvPr/>
                </p:nvCxnSpPr>
                <p:spPr>
                  <a:xfrm flipH="1" flipV="1">
                    <a:off x="6334636"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3" name="Straight Connector 1292">
                    <a:extLst>
                      <a:ext uri="{FF2B5EF4-FFF2-40B4-BE49-F238E27FC236}">
                        <a16:creationId xmlns:a16="http://schemas.microsoft.com/office/drawing/2014/main" id="{09AF881E-D9D2-4A02-A449-B05800FAE08F}"/>
                      </a:ext>
                    </a:extLst>
                  </p:cNvPr>
                  <p:cNvCxnSpPr>
                    <a:cxnSpLocks/>
                  </p:cNvCxnSpPr>
                  <p:nvPr/>
                </p:nvCxnSpPr>
                <p:spPr>
                  <a:xfrm flipH="1" flipV="1">
                    <a:off x="609640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4" name="Straight Connector 1293">
                    <a:extLst>
                      <a:ext uri="{FF2B5EF4-FFF2-40B4-BE49-F238E27FC236}">
                        <a16:creationId xmlns:a16="http://schemas.microsoft.com/office/drawing/2014/main" id="{21626296-5F64-4C61-9E7F-BAB5B2A2CC36}"/>
                      </a:ext>
                    </a:extLst>
                  </p:cNvPr>
                  <p:cNvCxnSpPr>
                    <a:cxnSpLocks/>
                  </p:cNvCxnSpPr>
                  <p:nvPr/>
                </p:nvCxnSpPr>
                <p:spPr>
                  <a:xfrm flipH="1" flipV="1">
                    <a:off x="6409676"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5" name="Straight Connector 1294">
                    <a:extLst>
                      <a:ext uri="{FF2B5EF4-FFF2-40B4-BE49-F238E27FC236}">
                        <a16:creationId xmlns:a16="http://schemas.microsoft.com/office/drawing/2014/main" id="{8B027271-CA6E-4F3E-B67A-637A3965CCB1}"/>
                      </a:ext>
                    </a:extLst>
                  </p:cNvPr>
                  <p:cNvCxnSpPr>
                    <a:cxnSpLocks/>
                  </p:cNvCxnSpPr>
                  <p:nvPr/>
                </p:nvCxnSpPr>
                <p:spPr>
                  <a:xfrm flipH="1" flipV="1">
                    <a:off x="6968283"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6" name="Straight Connector 1295">
                    <a:extLst>
                      <a:ext uri="{FF2B5EF4-FFF2-40B4-BE49-F238E27FC236}">
                        <a16:creationId xmlns:a16="http://schemas.microsoft.com/office/drawing/2014/main" id="{7139F158-1B3F-4A80-B835-FD022DDBB156}"/>
                      </a:ext>
                    </a:extLst>
                  </p:cNvPr>
                  <p:cNvCxnSpPr>
                    <a:cxnSpLocks/>
                  </p:cNvCxnSpPr>
                  <p:nvPr/>
                </p:nvCxnSpPr>
                <p:spPr>
                  <a:xfrm flipH="1" flipV="1">
                    <a:off x="6649349"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7" name="Straight Connector 1296">
                    <a:extLst>
                      <a:ext uri="{FF2B5EF4-FFF2-40B4-BE49-F238E27FC236}">
                        <a16:creationId xmlns:a16="http://schemas.microsoft.com/office/drawing/2014/main" id="{CDCB26D4-B103-4E57-87AA-59788B8AB358}"/>
                      </a:ext>
                    </a:extLst>
                  </p:cNvPr>
                  <p:cNvCxnSpPr>
                    <a:cxnSpLocks/>
                  </p:cNvCxnSpPr>
                  <p:nvPr/>
                </p:nvCxnSpPr>
                <p:spPr>
                  <a:xfrm flipH="1" flipV="1">
                    <a:off x="708340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8" name="Straight Connector 1297">
                    <a:extLst>
                      <a:ext uri="{FF2B5EF4-FFF2-40B4-BE49-F238E27FC236}">
                        <a16:creationId xmlns:a16="http://schemas.microsoft.com/office/drawing/2014/main" id="{32E25C80-7938-41C0-A686-B8BB052298CC}"/>
                      </a:ext>
                    </a:extLst>
                  </p:cNvPr>
                  <p:cNvCxnSpPr>
                    <a:cxnSpLocks/>
                  </p:cNvCxnSpPr>
                  <p:nvPr/>
                </p:nvCxnSpPr>
                <p:spPr>
                  <a:xfrm flipH="1" flipV="1">
                    <a:off x="7338172"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9" name="Straight Connector 1298">
                    <a:extLst>
                      <a:ext uri="{FF2B5EF4-FFF2-40B4-BE49-F238E27FC236}">
                        <a16:creationId xmlns:a16="http://schemas.microsoft.com/office/drawing/2014/main" id="{7A0E517C-0456-4FC8-B559-161D910239CC}"/>
                      </a:ext>
                    </a:extLst>
                  </p:cNvPr>
                  <p:cNvCxnSpPr>
                    <a:cxnSpLocks/>
                  </p:cNvCxnSpPr>
                  <p:nvPr/>
                </p:nvCxnSpPr>
                <p:spPr>
                  <a:xfrm flipH="1" flipV="1">
                    <a:off x="6785225"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0" name="Straight Connector 1299">
                    <a:extLst>
                      <a:ext uri="{FF2B5EF4-FFF2-40B4-BE49-F238E27FC236}">
                        <a16:creationId xmlns:a16="http://schemas.microsoft.com/office/drawing/2014/main" id="{F7344497-986A-4CCD-9DAD-8447FAC0E89D}"/>
                      </a:ext>
                    </a:extLst>
                  </p:cNvPr>
                  <p:cNvCxnSpPr>
                    <a:cxnSpLocks/>
                  </p:cNvCxnSpPr>
                  <p:nvPr/>
                </p:nvCxnSpPr>
                <p:spPr>
                  <a:xfrm flipH="1" flipV="1">
                    <a:off x="5856780" y="7953566"/>
                    <a:ext cx="242052" cy="2884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1" name="Straight Connector 1300">
                    <a:extLst>
                      <a:ext uri="{FF2B5EF4-FFF2-40B4-BE49-F238E27FC236}">
                        <a16:creationId xmlns:a16="http://schemas.microsoft.com/office/drawing/2014/main" id="{E68D9F69-3F04-4CAE-89B4-4145FA19A35C}"/>
                      </a:ext>
                    </a:extLst>
                  </p:cNvPr>
                  <p:cNvCxnSpPr>
                    <a:cxnSpLocks/>
                  </p:cNvCxnSpPr>
                  <p:nvPr/>
                </p:nvCxnSpPr>
                <p:spPr>
                  <a:xfrm flipH="1">
                    <a:off x="5856781" y="7470423"/>
                    <a:ext cx="236390" cy="48314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2" name="Straight Connector 1301">
                    <a:extLst>
                      <a:ext uri="{FF2B5EF4-FFF2-40B4-BE49-F238E27FC236}">
                        <a16:creationId xmlns:a16="http://schemas.microsoft.com/office/drawing/2014/main" id="{6355BB7C-9683-4221-8D6E-1CBCB31F67A9}"/>
                      </a:ext>
                    </a:extLst>
                  </p:cNvPr>
                  <p:cNvCxnSpPr>
                    <a:cxnSpLocks/>
                  </p:cNvCxnSpPr>
                  <p:nvPr/>
                </p:nvCxnSpPr>
                <p:spPr>
                  <a:xfrm flipH="1" flipV="1">
                    <a:off x="5783083" y="6687625"/>
                    <a:ext cx="310087" cy="77639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3" name="Straight Connector 1302">
                    <a:extLst>
                      <a:ext uri="{FF2B5EF4-FFF2-40B4-BE49-F238E27FC236}">
                        <a16:creationId xmlns:a16="http://schemas.microsoft.com/office/drawing/2014/main" id="{93900BC8-5768-46B7-A5A5-F82295723E3C}"/>
                      </a:ext>
                    </a:extLst>
                  </p:cNvPr>
                  <p:cNvCxnSpPr>
                    <a:cxnSpLocks/>
                  </p:cNvCxnSpPr>
                  <p:nvPr/>
                </p:nvCxnSpPr>
                <p:spPr>
                  <a:xfrm flipH="1">
                    <a:off x="5783083"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4" name="Straight Connector 1303">
                    <a:extLst>
                      <a:ext uri="{FF2B5EF4-FFF2-40B4-BE49-F238E27FC236}">
                        <a16:creationId xmlns:a16="http://schemas.microsoft.com/office/drawing/2014/main" id="{EADEE67C-EE9F-4D56-87CB-4754A94D665A}"/>
                      </a:ext>
                    </a:extLst>
                  </p:cNvPr>
                  <p:cNvCxnSpPr>
                    <a:cxnSpLocks/>
                  </p:cNvCxnSpPr>
                  <p:nvPr/>
                </p:nvCxnSpPr>
                <p:spPr>
                  <a:xfrm flipV="1">
                    <a:off x="5690963"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5" name="Straight Connector 1304">
                    <a:extLst>
                      <a:ext uri="{FF2B5EF4-FFF2-40B4-BE49-F238E27FC236}">
                        <a16:creationId xmlns:a16="http://schemas.microsoft.com/office/drawing/2014/main" id="{97B40837-9969-4334-ADF8-3F0C7F7DD98F}"/>
                      </a:ext>
                    </a:extLst>
                  </p:cNvPr>
                  <p:cNvCxnSpPr>
                    <a:cxnSpLocks/>
                  </p:cNvCxnSpPr>
                  <p:nvPr/>
                </p:nvCxnSpPr>
                <p:spPr>
                  <a:xfrm>
                    <a:off x="5540500"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6" name="Straight Connector 1305">
                    <a:extLst>
                      <a:ext uri="{FF2B5EF4-FFF2-40B4-BE49-F238E27FC236}">
                        <a16:creationId xmlns:a16="http://schemas.microsoft.com/office/drawing/2014/main" id="{14EB8D53-7D81-4FE3-B6F3-6A7697F0D0FA}"/>
                      </a:ext>
                    </a:extLst>
                  </p:cNvPr>
                  <p:cNvCxnSpPr>
                    <a:cxnSpLocks/>
                  </p:cNvCxnSpPr>
                  <p:nvPr/>
                </p:nvCxnSpPr>
                <p:spPr>
                  <a:xfrm flipV="1">
                    <a:off x="5542035"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7" name="Straight Connector 1306">
                    <a:extLst>
                      <a:ext uri="{FF2B5EF4-FFF2-40B4-BE49-F238E27FC236}">
                        <a16:creationId xmlns:a16="http://schemas.microsoft.com/office/drawing/2014/main" id="{9AA3C70B-31EB-4F7B-9E62-575061CAC83F}"/>
                      </a:ext>
                    </a:extLst>
                  </p:cNvPr>
                  <p:cNvCxnSpPr>
                    <a:cxnSpLocks/>
                  </p:cNvCxnSpPr>
                  <p:nvPr/>
                </p:nvCxnSpPr>
                <p:spPr>
                  <a:xfrm>
                    <a:off x="5460918"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8" name="Straight Connector 1307">
                    <a:extLst>
                      <a:ext uri="{FF2B5EF4-FFF2-40B4-BE49-F238E27FC236}">
                        <a16:creationId xmlns:a16="http://schemas.microsoft.com/office/drawing/2014/main" id="{AA936200-BBD5-4B99-8D27-92B57877355E}"/>
                      </a:ext>
                    </a:extLst>
                  </p:cNvPr>
                  <p:cNvCxnSpPr>
                    <a:cxnSpLocks/>
                  </p:cNvCxnSpPr>
                  <p:nvPr/>
                </p:nvCxnSpPr>
                <p:spPr>
                  <a:xfrm flipV="1">
                    <a:off x="5375994"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9" name="Straight Connector 1308">
                    <a:extLst>
                      <a:ext uri="{FF2B5EF4-FFF2-40B4-BE49-F238E27FC236}">
                        <a16:creationId xmlns:a16="http://schemas.microsoft.com/office/drawing/2014/main" id="{E9E7112F-5757-4E5A-B45B-488CDFAF49F0}"/>
                      </a:ext>
                    </a:extLst>
                  </p:cNvPr>
                  <p:cNvCxnSpPr>
                    <a:cxnSpLocks/>
                  </p:cNvCxnSpPr>
                  <p:nvPr/>
                </p:nvCxnSpPr>
                <p:spPr>
                  <a:xfrm>
                    <a:off x="510952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0" name="Straight Connector 1309">
                    <a:extLst>
                      <a:ext uri="{FF2B5EF4-FFF2-40B4-BE49-F238E27FC236}">
                        <a16:creationId xmlns:a16="http://schemas.microsoft.com/office/drawing/2014/main" id="{DE9B7EEB-6C5A-49D9-8E79-FEC6F99B481F}"/>
                      </a:ext>
                    </a:extLst>
                  </p:cNvPr>
                  <p:cNvCxnSpPr>
                    <a:cxnSpLocks/>
                  </p:cNvCxnSpPr>
                  <p:nvPr/>
                </p:nvCxnSpPr>
                <p:spPr>
                  <a:xfrm flipV="1">
                    <a:off x="5109528" y="6616428"/>
                    <a:ext cx="110794" cy="5923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1" name="Straight Connector 1310">
                    <a:extLst>
                      <a:ext uri="{FF2B5EF4-FFF2-40B4-BE49-F238E27FC236}">
                        <a16:creationId xmlns:a16="http://schemas.microsoft.com/office/drawing/2014/main" id="{CF8E5263-38BA-4421-BB25-B91DAB93EEF6}"/>
                      </a:ext>
                    </a:extLst>
                  </p:cNvPr>
                  <p:cNvCxnSpPr>
                    <a:cxnSpLocks/>
                  </p:cNvCxnSpPr>
                  <p:nvPr/>
                </p:nvCxnSpPr>
                <p:spPr>
                  <a:xfrm>
                    <a:off x="4985464"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2" name="Straight Connector 1311">
                    <a:extLst>
                      <a:ext uri="{FF2B5EF4-FFF2-40B4-BE49-F238E27FC236}">
                        <a16:creationId xmlns:a16="http://schemas.microsoft.com/office/drawing/2014/main" id="{D0102BF1-3CD2-492C-AE4C-F2A0EFDDA605}"/>
                      </a:ext>
                    </a:extLst>
                  </p:cNvPr>
                  <p:cNvCxnSpPr>
                    <a:cxnSpLocks/>
                  </p:cNvCxnSpPr>
                  <p:nvPr/>
                </p:nvCxnSpPr>
                <p:spPr>
                  <a:xfrm flipH="1" flipV="1">
                    <a:off x="5408077"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3" name="Straight Connector 1312">
                    <a:extLst>
                      <a:ext uri="{FF2B5EF4-FFF2-40B4-BE49-F238E27FC236}">
                        <a16:creationId xmlns:a16="http://schemas.microsoft.com/office/drawing/2014/main" id="{15BDBB64-AB5C-4C60-B62B-337E543FAF7C}"/>
                      </a:ext>
                    </a:extLst>
                  </p:cNvPr>
                  <p:cNvCxnSpPr>
                    <a:cxnSpLocks/>
                  </p:cNvCxnSpPr>
                  <p:nvPr/>
                </p:nvCxnSpPr>
                <p:spPr>
                  <a:xfrm flipH="1">
                    <a:off x="5405033"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4" name="Straight Connector 1313">
                    <a:extLst>
                      <a:ext uri="{FF2B5EF4-FFF2-40B4-BE49-F238E27FC236}">
                        <a16:creationId xmlns:a16="http://schemas.microsoft.com/office/drawing/2014/main" id="{826BF236-3C53-4226-B2B3-F36860B301B4}"/>
                      </a:ext>
                    </a:extLst>
                  </p:cNvPr>
                  <p:cNvCxnSpPr>
                    <a:cxnSpLocks/>
                  </p:cNvCxnSpPr>
                  <p:nvPr/>
                </p:nvCxnSpPr>
                <p:spPr>
                  <a:xfrm flipH="1" flipV="1">
                    <a:off x="5221245"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5" name="Straight Connector 1314">
                    <a:extLst>
                      <a:ext uri="{FF2B5EF4-FFF2-40B4-BE49-F238E27FC236}">
                        <a16:creationId xmlns:a16="http://schemas.microsoft.com/office/drawing/2014/main" id="{3F6872B3-646F-4D8E-B94A-E3FDC3C0DB32}"/>
                      </a:ext>
                    </a:extLst>
                  </p:cNvPr>
                  <p:cNvCxnSpPr>
                    <a:cxnSpLocks/>
                  </p:cNvCxnSpPr>
                  <p:nvPr/>
                </p:nvCxnSpPr>
                <p:spPr>
                  <a:xfrm flipH="1">
                    <a:off x="5221245" y="5748753"/>
                    <a:ext cx="241560"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6" name="Straight Connector 1315">
                    <a:extLst>
                      <a:ext uri="{FF2B5EF4-FFF2-40B4-BE49-F238E27FC236}">
                        <a16:creationId xmlns:a16="http://schemas.microsoft.com/office/drawing/2014/main" id="{FC7CF63C-D2FB-4EC0-84FB-00F969FC9FBB}"/>
                      </a:ext>
                    </a:extLst>
                  </p:cNvPr>
                  <p:cNvCxnSpPr>
                    <a:cxnSpLocks/>
                  </p:cNvCxnSpPr>
                  <p:nvPr/>
                </p:nvCxnSpPr>
                <p:spPr>
                  <a:xfrm flipV="1">
                    <a:off x="5094803" y="721087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7" name="Straight Connector 1316">
                    <a:extLst>
                      <a:ext uri="{FF2B5EF4-FFF2-40B4-BE49-F238E27FC236}">
                        <a16:creationId xmlns:a16="http://schemas.microsoft.com/office/drawing/2014/main" id="{7D0AA503-6302-4A21-8936-4C6783D0371C}"/>
                      </a:ext>
                    </a:extLst>
                  </p:cNvPr>
                  <p:cNvCxnSpPr>
                    <a:cxnSpLocks/>
                  </p:cNvCxnSpPr>
                  <p:nvPr/>
                </p:nvCxnSpPr>
                <p:spPr>
                  <a:xfrm>
                    <a:off x="4853243"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8" name="Straight Connector 1317">
                    <a:extLst>
                      <a:ext uri="{FF2B5EF4-FFF2-40B4-BE49-F238E27FC236}">
                        <a16:creationId xmlns:a16="http://schemas.microsoft.com/office/drawing/2014/main" id="{47A40AD4-B804-48D0-94D4-BAFBD2FF287D}"/>
                      </a:ext>
                    </a:extLst>
                  </p:cNvPr>
                  <p:cNvCxnSpPr>
                    <a:cxnSpLocks/>
                  </p:cNvCxnSpPr>
                  <p:nvPr/>
                </p:nvCxnSpPr>
                <p:spPr>
                  <a:xfrm flipV="1">
                    <a:off x="4852870" y="5755159"/>
                    <a:ext cx="132476"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9" name="Straight Connector 1318">
                    <a:extLst>
                      <a:ext uri="{FF2B5EF4-FFF2-40B4-BE49-F238E27FC236}">
                        <a16:creationId xmlns:a16="http://schemas.microsoft.com/office/drawing/2014/main" id="{B4CF000D-073F-44A5-B0DE-F5F1776421F9}"/>
                      </a:ext>
                    </a:extLst>
                  </p:cNvPr>
                  <p:cNvCxnSpPr>
                    <a:cxnSpLocks/>
                  </p:cNvCxnSpPr>
                  <p:nvPr/>
                </p:nvCxnSpPr>
                <p:spPr>
                  <a:xfrm>
                    <a:off x="4713591"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0" name="Straight Connector 1319">
                    <a:extLst>
                      <a:ext uri="{FF2B5EF4-FFF2-40B4-BE49-F238E27FC236}">
                        <a16:creationId xmlns:a16="http://schemas.microsoft.com/office/drawing/2014/main" id="{FBAD2DD9-7CB2-4DCD-8B14-83762536CAF9}"/>
                      </a:ext>
                    </a:extLst>
                  </p:cNvPr>
                  <p:cNvCxnSpPr>
                    <a:cxnSpLocks/>
                  </p:cNvCxnSpPr>
                  <p:nvPr/>
                </p:nvCxnSpPr>
                <p:spPr>
                  <a:xfrm flipV="1">
                    <a:off x="4841920" y="6469149"/>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1" name="Straight Connector 1320">
                    <a:extLst>
                      <a:ext uri="{FF2B5EF4-FFF2-40B4-BE49-F238E27FC236}">
                        <a16:creationId xmlns:a16="http://schemas.microsoft.com/office/drawing/2014/main" id="{930A6092-A882-4349-A25F-6BB1D83EF819}"/>
                      </a:ext>
                    </a:extLst>
                  </p:cNvPr>
                  <p:cNvCxnSpPr>
                    <a:cxnSpLocks/>
                  </p:cNvCxnSpPr>
                  <p:nvPr/>
                </p:nvCxnSpPr>
                <p:spPr>
                  <a:xfrm flipV="1">
                    <a:off x="4672073"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2" name="Straight Connector 1321">
                    <a:extLst>
                      <a:ext uri="{FF2B5EF4-FFF2-40B4-BE49-F238E27FC236}">
                        <a16:creationId xmlns:a16="http://schemas.microsoft.com/office/drawing/2014/main" id="{6C758B93-2319-4DC2-89FC-F13DD7418D58}"/>
                      </a:ext>
                    </a:extLst>
                  </p:cNvPr>
                  <p:cNvCxnSpPr>
                    <a:cxnSpLocks/>
                  </p:cNvCxnSpPr>
                  <p:nvPr/>
                </p:nvCxnSpPr>
                <p:spPr>
                  <a:xfrm>
                    <a:off x="5404143"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CD09209E-38A8-48F8-9174-0000A1CF4ADB}"/>
                      </a:ext>
                    </a:extLst>
                  </p:cNvPr>
                  <p:cNvCxnSpPr>
                    <a:cxnSpLocks/>
                  </p:cNvCxnSpPr>
                  <p:nvPr/>
                </p:nvCxnSpPr>
                <p:spPr>
                  <a:xfrm>
                    <a:off x="5536246" y="7397656"/>
                    <a:ext cx="560699"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4" name="Straight Connector 1323">
                    <a:extLst>
                      <a:ext uri="{FF2B5EF4-FFF2-40B4-BE49-F238E27FC236}">
                        <a16:creationId xmlns:a16="http://schemas.microsoft.com/office/drawing/2014/main" id="{C5973A77-C070-43EF-B293-FB11CC5C9E0F}"/>
                      </a:ext>
                    </a:extLst>
                  </p:cNvPr>
                  <p:cNvCxnSpPr>
                    <a:cxnSpLocks/>
                  </p:cNvCxnSpPr>
                  <p:nvPr/>
                </p:nvCxnSpPr>
                <p:spPr>
                  <a:xfrm>
                    <a:off x="5222973"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5" name="Straight Connector 1324">
                    <a:extLst>
                      <a:ext uri="{FF2B5EF4-FFF2-40B4-BE49-F238E27FC236}">
                        <a16:creationId xmlns:a16="http://schemas.microsoft.com/office/drawing/2014/main" id="{504449B4-79D7-4E52-84D8-F3B41B16C878}"/>
                      </a:ext>
                    </a:extLst>
                  </p:cNvPr>
                  <p:cNvCxnSpPr>
                    <a:cxnSpLocks/>
                  </p:cNvCxnSpPr>
                  <p:nvPr/>
                </p:nvCxnSpPr>
                <p:spPr>
                  <a:xfrm>
                    <a:off x="4851196"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6" name="Straight Connector 1325">
                    <a:extLst>
                      <a:ext uri="{FF2B5EF4-FFF2-40B4-BE49-F238E27FC236}">
                        <a16:creationId xmlns:a16="http://schemas.microsoft.com/office/drawing/2014/main" id="{0EFB7B70-39AC-407F-8CF2-5D17476E2001}"/>
                      </a:ext>
                    </a:extLst>
                  </p:cNvPr>
                  <p:cNvCxnSpPr>
                    <a:cxnSpLocks/>
                  </p:cNvCxnSpPr>
                  <p:nvPr/>
                </p:nvCxnSpPr>
                <p:spPr>
                  <a:xfrm>
                    <a:off x="5113516"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7" name="Straight Connector 1326">
                    <a:extLst>
                      <a:ext uri="{FF2B5EF4-FFF2-40B4-BE49-F238E27FC236}">
                        <a16:creationId xmlns:a16="http://schemas.microsoft.com/office/drawing/2014/main" id="{BE337614-9FBF-4639-825E-FA343D22A4E4}"/>
                      </a:ext>
                    </a:extLst>
                  </p:cNvPr>
                  <p:cNvCxnSpPr>
                    <a:cxnSpLocks/>
                  </p:cNvCxnSpPr>
                  <p:nvPr/>
                </p:nvCxnSpPr>
                <p:spPr>
                  <a:xfrm>
                    <a:off x="4837986"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8" name="Straight Connector 1327">
                    <a:extLst>
                      <a:ext uri="{FF2B5EF4-FFF2-40B4-BE49-F238E27FC236}">
                        <a16:creationId xmlns:a16="http://schemas.microsoft.com/office/drawing/2014/main" id="{83AAF660-5647-4E5F-9694-E2E51A89CECE}"/>
                      </a:ext>
                    </a:extLst>
                  </p:cNvPr>
                  <p:cNvCxnSpPr>
                    <a:cxnSpLocks/>
                  </p:cNvCxnSpPr>
                  <p:nvPr/>
                </p:nvCxnSpPr>
                <p:spPr>
                  <a:xfrm>
                    <a:off x="4670026"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9" name="Straight Connector 1328">
                    <a:extLst>
                      <a:ext uri="{FF2B5EF4-FFF2-40B4-BE49-F238E27FC236}">
                        <a16:creationId xmlns:a16="http://schemas.microsoft.com/office/drawing/2014/main" id="{B8EC255B-CDE5-4279-B07A-B1CBEE5BA439}"/>
                      </a:ext>
                    </a:extLst>
                  </p:cNvPr>
                  <p:cNvCxnSpPr>
                    <a:cxnSpLocks/>
                  </p:cNvCxnSpPr>
                  <p:nvPr/>
                </p:nvCxnSpPr>
                <p:spPr>
                  <a:xfrm>
                    <a:off x="5092757"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0" name="Straight Connector 1329">
                    <a:extLst>
                      <a:ext uri="{FF2B5EF4-FFF2-40B4-BE49-F238E27FC236}">
                        <a16:creationId xmlns:a16="http://schemas.microsoft.com/office/drawing/2014/main" id="{6A4555C9-C0A7-42C3-99E4-6E5435658833}"/>
                      </a:ext>
                    </a:extLst>
                  </p:cNvPr>
                  <p:cNvCxnSpPr>
                    <a:cxnSpLocks/>
                  </p:cNvCxnSpPr>
                  <p:nvPr/>
                </p:nvCxnSpPr>
                <p:spPr>
                  <a:xfrm flipV="1">
                    <a:off x="6098148" y="7953566"/>
                    <a:ext cx="236443" cy="28653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1" name="Straight Connector 1330">
                    <a:extLst>
                      <a:ext uri="{FF2B5EF4-FFF2-40B4-BE49-F238E27FC236}">
                        <a16:creationId xmlns:a16="http://schemas.microsoft.com/office/drawing/2014/main" id="{9AC895AD-EFC0-4551-9F13-788E0CD4D1E5}"/>
                      </a:ext>
                    </a:extLst>
                  </p:cNvPr>
                  <p:cNvCxnSpPr>
                    <a:cxnSpLocks/>
                  </p:cNvCxnSpPr>
                  <p:nvPr/>
                </p:nvCxnSpPr>
                <p:spPr>
                  <a:xfrm>
                    <a:off x="6096945" y="7467222"/>
                    <a:ext cx="237644" cy="4863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2" name="Straight Connector 1331">
                    <a:extLst>
                      <a:ext uri="{FF2B5EF4-FFF2-40B4-BE49-F238E27FC236}">
                        <a16:creationId xmlns:a16="http://schemas.microsoft.com/office/drawing/2014/main" id="{E03528F8-C8FA-402A-BD68-C225361673CF}"/>
                      </a:ext>
                    </a:extLst>
                  </p:cNvPr>
                  <p:cNvCxnSpPr>
                    <a:cxnSpLocks/>
                  </p:cNvCxnSpPr>
                  <p:nvPr/>
                </p:nvCxnSpPr>
                <p:spPr>
                  <a:xfrm flipV="1">
                    <a:off x="6096945" y="6687625"/>
                    <a:ext cx="311342" cy="77959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3" name="Straight Connector 1332">
                    <a:extLst>
                      <a:ext uri="{FF2B5EF4-FFF2-40B4-BE49-F238E27FC236}">
                        <a16:creationId xmlns:a16="http://schemas.microsoft.com/office/drawing/2014/main" id="{F47CC53D-C31C-409E-A3C9-A166B0A1E7E1}"/>
                      </a:ext>
                    </a:extLst>
                  </p:cNvPr>
                  <p:cNvCxnSpPr>
                    <a:cxnSpLocks/>
                  </p:cNvCxnSpPr>
                  <p:nvPr/>
                </p:nvCxnSpPr>
                <p:spPr>
                  <a:xfrm>
                    <a:off x="6098148"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4" name="Straight Connector 1333">
                    <a:extLst>
                      <a:ext uri="{FF2B5EF4-FFF2-40B4-BE49-F238E27FC236}">
                        <a16:creationId xmlns:a16="http://schemas.microsoft.com/office/drawing/2014/main" id="{A90AECE0-0BE1-4B20-A5B1-419AFD4B223A}"/>
                      </a:ext>
                    </a:extLst>
                  </p:cNvPr>
                  <p:cNvCxnSpPr>
                    <a:cxnSpLocks/>
                  </p:cNvCxnSpPr>
                  <p:nvPr/>
                </p:nvCxnSpPr>
                <p:spPr>
                  <a:xfrm flipH="1" flipV="1">
                    <a:off x="6334591"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5" name="Straight Connector 1334">
                    <a:extLst>
                      <a:ext uri="{FF2B5EF4-FFF2-40B4-BE49-F238E27FC236}">
                        <a16:creationId xmlns:a16="http://schemas.microsoft.com/office/drawing/2014/main" id="{60D6D26C-2587-4B63-858C-22B824846B27}"/>
                      </a:ext>
                    </a:extLst>
                  </p:cNvPr>
                  <p:cNvCxnSpPr>
                    <a:cxnSpLocks/>
                  </p:cNvCxnSpPr>
                  <p:nvPr/>
                </p:nvCxnSpPr>
                <p:spPr>
                  <a:xfrm flipH="1">
                    <a:off x="6334591"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6" name="Straight Connector 1335">
                    <a:extLst>
                      <a:ext uri="{FF2B5EF4-FFF2-40B4-BE49-F238E27FC236}">
                        <a16:creationId xmlns:a16="http://schemas.microsoft.com/office/drawing/2014/main" id="{30F4ED6E-2838-4B99-AD22-E1EC2C3F0B27}"/>
                      </a:ext>
                    </a:extLst>
                  </p:cNvPr>
                  <p:cNvCxnSpPr>
                    <a:cxnSpLocks/>
                  </p:cNvCxnSpPr>
                  <p:nvPr/>
                </p:nvCxnSpPr>
                <p:spPr>
                  <a:xfrm flipH="1" flipV="1">
                    <a:off x="6407743"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7" name="Straight Connector 1336">
                    <a:extLst>
                      <a:ext uri="{FF2B5EF4-FFF2-40B4-BE49-F238E27FC236}">
                        <a16:creationId xmlns:a16="http://schemas.microsoft.com/office/drawing/2014/main" id="{04227165-2370-465A-A505-4FA38D2EF4AD}"/>
                      </a:ext>
                    </a:extLst>
                  </p:cNvPr>
                  <p:cNvCxnSpPr>
                    <a:cxnSpLocks/>
                  </p:cNvCxnSpPr>
                  <p:nvPr/>
                </p:nvCxnSpPr>
                <p:spPr>
                  <a:xfrm flipH="1">
                    <a:off x="6409630"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8" name="Straight Connector 1337">
                    <a:extLst>
                      <a:ext uri="{FF2B5EF4-FFF2-40B4-BE49-F238E27FC236}">
                        <a16:creationId xmlns:a16="http://schemas.microsoft.com/office/drawing/2014/main" id="{9DE4D824-B057-4437-81B6-2C6ABB23E71D}"/>
                      </a:ext>
                    </a:extLst>
                  </p:cNvPr>
                  <p:cNvCxnSpPr>
                    <a:cxnSpLocks/>
                  </p:cNvCxnSpPr>
                  <p:nvPr/>
                </p:nvCxnSpPr>
                <p:spPr>
                  <a:xfrm flipH="1" flipV="1">
                    <a:off x="6787227"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9" name="Straight Connector 1338">
                    <a:extLst>
                      <a:ext uri="{FF2B5EF4-FFF2-40B4-BE49-F238E27FC236}">
                        <a16:creationId xmlns:a16="http://schemas.microsoft.com/office/drawing/2014/main" id="{FE15C6E1-E84B-4B5F-81E9-878D51715745}"/>
                      </a:ext>
                    </a:extLst>
                  </p:cNvPr>
                  <p:cNvCxnSpPr>
                    <a:cxnSpLocks/>
                  </p:cNvCxnSpPr>
                  <p:nvPr/>
                </p:nvCxnSpPr>
                <p:spPr>
                  <a:xfrm flipH="1">
                    <a:off x="678706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0" name="Straight Connector 1339">
                    <a:extLst>
                      <a:ext uri="{FF2B5EF4-FFF2-40B4-BE49-F238E27FC236}">
                        <a16:creationId xmlns:a16="http://schemas.microsoft.com/office/drawing/2014/main" id="{56E6A961-4145-4AE2-A1B5-230BAFFDF32E}"/>
                      </a:ext>
                    </a:extLst>
                  </p:cNvPr>
                  <p:cNvCxnSpPr>
                    <a:cxnSpLocks/>
                  </p:cNvCxnSpPr>
                  <p:nvPr/>
                </p:nvCxnSpPr>
                <p:spPr>
                  <a:xfrm flipH="1" flipV="1">
                    <a:off x="6971048" y="6616428"/>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1" name="Straight Connector 1340">
                    <a:extLst>
                      <a:ext uri="{FF2B5EF4-FFF2-40B4-BE49-F238E27FC236}">
                        <a16:creationId xmlns:a16="http://schemas.microsoft.com/office/drawing/2014/main" id="{ECE2803D-4451-432D-8D95-4A2355B9FC81}"/>
                      </a:ext>
                    </a:extLst>
                  </p:cNvPr>
                  <p:cNvCxnSpPr>
                    <a:cxnSpLocks/>
                  </p:cNvCxnSpPr>
                  <p:nvPr/>
                </p:nvCxnSpPr>
                <p:spPr>
                  <a:xfrm flipH="1">
                    <a:off x="6970125"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2" name="Straight Connector 1341">
                    <a:extLst>
                      <a:ext uri="{FF2B5EF4-FFF2-40B4-BE49-F238E27FC236}">
                        <a16:creationId xmlns:a16="http://schemas.microsoft.com/office/drawing/2014/main" id="{37C26B4F-3CA6-49BD-84FB-845EB3073BCA}"/>
                      </a:ext>
                    </a:extLst>
                  </p:cNvPr>
                  <p:cNvCxnSpPr>
                    <a:cxnSpLocks/>
                  </p:cNvCxnSpPr>
                  <p:nvPr/>
                </p:nvCxnSpPr>
                <p:spPr>
                  <a:xfrm flipV="1">
                    <a:off x="6500408"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3" name="Straight Connector 1342">
                    <a:extLst>
                      <a:ext uri="{FF2B5EF4-FFF2-40B4-BE49-F238E27FC236}">
                        <a16:creationId xmlns:a16="http://schemas.microsoft.com/office/drawing/2014/main" id="{5631CCBB-0F61-4617-8F30-31F077BEB93A}"/>
                      </a:ext>
                    </a:extLst>
                  </p:cNvPr>
                  <p:cNvCxnSpPr>
                    <a:cxnSpLocks/>
                  </p:cNvCxnSpPr>
                  <p:nvPr/>
                </p:nvCxnSpPr>
                <p:spPr>
                  <a:xfrm>
                    <a:off x="6651190"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4" name="Straight Connector 1343">
                    <a:extLst>
                      <a:ext uri="{FF2B5EF4-FFF2-40B4-BE49-F238E27FC236}">
                        <a16:creationId xmlns:a16="http://schemas.microsoft.com/office/drawing/2014/main" id="{281F5A3A-981F-49EA-B67B-BC0F1FB0EB7B}"/>
                      </a:ext>
                    </a:extLst>
                  </p:cNvPr>
                  <p:cNvCxnSpPr>
                    <a:cxnSpLocks/>
                  </p:cNvCxnSpPr>
                  <p:nvPr/>
                </p:nvCxnSpPr>
                <p:spPr>
                  <a:xfrm flipV="1">
                    <a:off x="6653078"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5" name="Straight Connector 1344">
                    <a:extLst>
                      <a:ext uri="{FF2B5EF4-FFF2-40B4-BE49-F238E27FC236}">
                        <a16:creationId xmlns:a16="http://schemas.microsoft.com/office/drawing/2014/main" id="{124B5AA1-2D81-47EA-A289-8997B371739B}"/>
                      </a:ext>
                    </a:extLst>
                  </p:cNvPr>
                  <p:cNvCxnSpPr>
                    <a:cxnSpLocks/>
                  </p:cNvCxnSpPr>
                  <p:nvPr/>
                </p:nvCxnSpPr>
                <p:spPr>
                  <a:xfrm>
                    <a:off x="6728565" y="5748753"/>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6" name="Straight Connector 1345">
                    <a:extLst>
                      <a:ext uri="{FF2B5EF4-FFF2-40B4-BE49-F238E27FC236}">
                        <a16:creationId xmlns:a16="http://schemas.microsoft.com/office/drawing/2014/main" id="{CD65D98F-493F-418F-9979-3245BC075EA8}"/>
                      </a:ext>
                    </a:extLst>
                  </p:cNvPr>
                  <p:cNvCxnSpPr>
                    <a:cxnSpLocks/>
                  </p:cNvCxnSpPr>
                  <p:nvPr/>
                </p:nvCxnSpPr>
                <p:spPr>
                  <a:xfrm flipH="1" flipV="1">
                    <a:off x="7083516" y="7210868"/>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7" name="Straight Connector 1346">
                    <a:extLst>
                      <a:ext uri="{FF2B5EF4-FFF2-40B4-BE49-F238E27FC236}">
                        <a16:creationId xmlns:a16="http://schemas.microsoft.com/office/drawing/2014/main" id="{BD7B02A0-692A-47CB-A11E-2B7F0D0AF307}"/>
                      </a:ext>
                    </a:extLst>
                  </p:cNvPr>
                  <p:cNvCxnSpPr>
                    <a:cxnSpLocks/>
                  </p:cNvCxnSpPr>
                  <p:nvPr/>
                </p:nvCxnSpPr>
                <p:spPr>
                  <a:xfrm flipH="1">
                    <a:off x="7081469"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8" name="Straight Connector 1347">
                    <a:extLst>
                      <a:ext uri="{FF2B5EF4-FFF2-40B4-BE49-F238E27FC236}">
                        <a16:creationId xmlns:a16="http://schemas.microsoft.com/office/drawing/2014/main" id="{2FA545D2-FE8C-4E1B-B9E8-6D753F395770}"/>
                      </a:ext>
                    </a:extLst>
                  </p:cNvPr>
                  <p:cNvCxnSpPr>
                    <a:cxnSpLocks/>
                  </p:cNvCxnSpPr>
                  <p:nvPr/>
                </p:nvCxnSpPr>
                <p:spPr>
                  <a:xfrm flipH="1" flipV="1">
                    <a:off x="7206025" y="5755157"/>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9" name="Straight Connector 1348">
                    <a:extLst>
                      <a:ext uri="{FF2B5EF4-FFF2-40B4-BE49-F238E27FC236}">
                        <a16:creationId xmlns:a16="http://schemas.microsoft.com/office/drawing/2014/main" id="{1D3ABF78-E4B8-41C0-B712-9B3E9D4CFBBF}"/>
                      </a:ext>
                    </a:extLst>
                  </p:cNvPr>
                  <p:cNvCxnSpPr>
                    <a:cxnSpLocks/>
                  </p:cNvCxnSpPr>
                  <p:nvPr/>
                </p:nvCxnSpPr>
                <p:spPr>
                  <a:xfrm flipH="1">
                    <a:off x="7338128"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0" name="Straight Connector 1349">
                    <a:extLst>
                      <a:ext uri="{FF2B5EF4-FFF2-40B4-BE49-F238E27FC236}">
                        <a16:creationId xmlns:a16="http://schemas.microsoft.com/office/drawing/2014/main" id="{CFDEE8DA-4F19-48BC-848B-3CA031D52E7B}"/>
                      </a:ext>
                    </a:extLst>
                  </p:cNvPr>
                  <p:cNvCxnSpPr>
                    <a:cxnSpLocks/>
                  </p:cNvCxnSpPr>
                  <p:nvPr/>
                </p:nvCxnSpPr>
                <p:spPr>
                  <a:xfrm flipH="1" flipV="1">
                    <a:off x="7338128" y="6469147"/>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1" name="Straight Connector 1350">
                    <a:extLst>
                      <a:ext uri="{FF2B5EF4-FFF2-40B4-BE49-F238E27FC236}">
                        <a16:creationId xmlns:a16="http://schemas.microsoft.com/office/drawing/2014/main" id="{ABE3F4F2-2CA9-4400-B820-ED7036489755}"/>
                      </a:ext>
                    </a:extLst>
                  </p:cNvPr>
                  <p:cNvCxnSpPr>
                    <a:cxnSpLocks/>
                  </p:cNvCxnSpPr>
                  <p:nvPr/>
                </p:nvCxnSpPr>
                <p:spPr>
                  <a:xfrm flipH="1" flipV="1">
                    <a:off x="7479666"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2" name="Straight Connector 1351">
                    <a:extLst>
                      <a:ext uri="{FF2B5EF4-FFF2-40B4-BE49-F238E27FC236}">
                        <a16:creationId xmlns:a16="http://schemas.microsoft.com/office/drawing/2014/main" id="{A56756F2-A067-47DD-A800-311AF10EA216}"/>
                      </a:ext>
                    </a:extLst>
                  </p:cNvPr>
                  <p:cNvCxnSpPr/>
                  <p:nvPr/>
                </p:nvCxnSpPr>
                <p:spPr>
                  <a:xfrm flipH="1">
                    <a:off x="6334591"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3" name="Straight Connector 1352">
                    <a:extLst>
                      <a:ext uri="{FF2B5EF4-FFF2-40B4-BE49-F238E27FC236}">
                        <a16:creationId xmlns:a16="http://schemas.microsoft.com/office/drawing/2014/main" id="{562169D8-4C2E-42F4-ADAF-A6448A262B94}"/>
                      </a:ext>
                    </a:extLst>
                  </p:cNvPr>
                  <p:cNvCxnSpPr>
                    <a:cxnSpLocks/>
                  </p:cNvCxnSpPr>
                  <p:nvPr/>
                </p:nvCxnSpPr>
                <p:spPr>
                  <a:xfrm flipH="1">
                    <a:off x="6095058" y="7397656"/>
                    <a:ext cx="560066"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4" name="Straight Connector 1353">
                    <a:extLst>
                      <a:ext uri="{FF2B5EF4-FFF2-40B4-BE49-F238E27FC236}">
                        <a16:creationId xmlns:a16="http://schemas.microsoft.com/office/drawing/2014/main" id="{F74FFBD5-C15B-4741-AFEF-1B3D8F9726B2}"/>
                      </a:ext>
                    </a:extLst>
                  </p:cNvPr>
                  <p:cNvCxnSpPr>
                    <a:cxnSpLocks/>
                  </p:cNvCxnSpPr>
                  <p:nvPr/>
                </p:nvCxnSpPr>
                <p:spPr>
                  <a:xfrm flipH="1">
                    <a:off x="6409630"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5" name="Straight Connector 1354">
                    <a:extLst>
                      <a:ext uri="{FF2B5EF4-FFF2-40B4-BE49-F238E27FC236}">
                        <a16:creationId xmlns:a16="http://schemas.microsoft.com/office/drawing/2014/main" id="{65205631-D43A-4F4A-9F86-B82BE4680579}"/>
                      </a:ext>
                    </a:extLst>
                  </p:cNvPr>
                  <p:cNvCxnSpPr>
                    <a:cxnSpLocks/>
                  </p:cNvCxnSpPr>
                  <p:nvPr/>
                </p:nvCxnSpPr>
                <p:spPr>
                  <a:xfrm flipH="1">
                    <a:off x="6968238"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6" name="Straight Connector 1355">
                    <a:extLst>
                      <a:ext uri="{FF2B5EF4-FFF2-40B4-BE49-F238E27FC236}">
                        <a16:creationId xmlns:a16="http://schemas.microsoft.com/office/drawing/2014/main" id="{773FD373-2D8C-4F76-8396-A21558D4B503}"/>
                      </a:ext>
                    </a:extLst>
                  </p:cNvPr>
                  <p:cNvCxnSpPr>
                    <a:cxnSpLocks/>
                  </p:cNvCxnSpPr>
                  <p:nvPr/>
                </p:nvCxnSpPr>
                <p:spPr>
                  <a:xfrm flipH="1">
                    <a:off x="6649303"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7" name="Straight Connector 1356">
                    <a:extLst>
                      <a:ext uri="{FF2B5EF4-FFF2-40B4-BE49-F238E27FC236}">
                        <a16:creationId xmlns:a16="http://schemas.microsoft.com/office/drawing/2014/main" id="{48484443-B38C-42BC-A649-61878F730108}"/>
                      </a:ext>
                    </a:extLst>
                  </p:cNvPr>
                  <p:cNvCxnSpPr>
                    <a:cxnSpLocks/>
                  </p:cNvCxnSpPr>
                  <p:nvPr/>
                </p:nvCxnSpPr>
                <p:spPr>
                  <a:xfrm flipH="1">
                    <a:off x="7083357"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8" name="Straight Connector 1357">
                    <a:extLst>
                      <a:ext uri="{FF2B5EF4-FFF2-40B4-BE49-F238E27FC236}">
                        <a16:creationId xmlns:a16="http://schemas.microsoft.com/office/drawing/2014/main" id="{BB8750E6-A8A0-49B3-AD9B-E2AAE6C763B0}"/>
                      </a:ext>
                    </a:extLst>
                  </p:cNvPr>
                  <p:cNvCxnSpPr>
                    <a:cxnSpLocks/>
                  </p:cNvCxnSpPr>
                  <p:nvPr/>
                </p:nvCxnSpPr>
                <p:spPr>
                  <a:xfrm flipH="1">
                    <a:off x="7338128"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9" name="Straight Connector 1358">
                    <a:extLst>
                      <a:ext uri="{FF2B5EF4-FFF2-40B4-BE49-F238E27FC236}">
                        <a16:creationId xmlns:a16="http://schemas.microsoft.com/office/drawing/2014/main" id="{C0915605-9DA9-49F9-A562-590474C8811C}"/>
                      </a:ext>
                    </a:extLst>
                  </p:cNvPr>
                  <p:cNvCxnSpPr>
                    <a:cxnSpLocks/>
                  </p:cNvCxnSpPr>
                  <p:nvPr/>
                </p:nvCxnSpPr>
                <p:spPr>
                  <a:xfrm flipH="1">
                    <a:off x="6785181"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0" name="Straight Connector 1359">
                    <a:extLst>
                      <a:ext uri="{FF2B5EF4-FFF2-40B4-BE49-F238E27FC236}">
                        <a16:creationId xmlns:a16="http://schemas.microsoft.com/office/drawing/2014/main" id="{3EC1BF12-3067-4DD9-917F-2B9D42581BB6}"/>
                      </a:ext>
                    </a:extLst>
                  </p:cNvPr>
                  <p:cNvCxnSpPr/>
                  <p:nvPr/>
                </p:nvCxnSpPr>
                <p:spPr>
                  <a:xfrm>
                    <a:off x="4625725"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1" name="Straight Connector 1360">
                    <a:extLst>
                      <a:ext uri="{FF2B5EF4-FFF2-40B4-BE49-F238E27FC236}">
                        <a16:creationId xmlns:a16="http://schemas.microsoft.com/office/drawing/2014/main" id="{ADE58E9F-BE44-4F5A-9CFF-1AACE4063588}"/>
                      </a:ext>
                    </a:extLst>
                  </p:cNvPr>
                  <p:cNvCxnSpPr>
                    <a:cxnSpLocks/>
                  </p:cNvCxnSpPr>
                  <p:nvPr/>
                </p:nvCxnSpPr>
                <p:spPr>
                  <a:xfrm>
                    <a:off x="4713636"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2" name="Straight Connector 1361">
                    <a:extLst>
                      <a:ext uri="{FF2B5EF4-FFF2-40B4-BE49-F238E27FC236}">
                        <a16:creationId xmlns:a16="http://schemas.microsoft.com/office/drawing/2014/main" id="{D1030D59-A2F6-4BCD-B20E-2B3E9D6999DE}"/>
                      </a:ext>
                    </a:extLst>
                  </p:cNvPr>
                  <p:cNvCxnSpPr>
                    <a:cxnSpLocks/>
                  </p:cNvCxnSpPr>
                  <p:nvPr/>
                </p:nvCxnSpPr>
                <p:spPr>
                  <a:xfrm>
                    <a:off x="4987278"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3" name="Straight Connector 1362">
                    <a:extLst>
                      <a:ext uri="{FF2B5EF4-FFF2-40B4-BE49-F238E27FC236}">
                        <a16:creationId xmlns:a16="http://schemas.microsoft.com/office/drawing/2014/main" id="{D2330AB5-38D8-4545-8262-3FEFDFE6539E}"/>
                      </a:ext>
                    </a:extLst>
                  </p:cNvPr>
                  <p:cNvCxnSpPr>
                    <a:cxnSpLocks/>
                  </p:cNvCxnSpPr>
                  <p:nvPr/>
                </p:nvCxnSpPr>
                <p:spPr>
                  <a:xfrm>
                    <a:off x="5466625"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4" name="Straight Connector 1363">
                    <a:extLst>
                      <a:ext uri="{FF2B5EF4-FFF2-40B4-BE49-F238E27FC236}">
                        <a16:creationId xmlns:a16="http://schemas.microsoft.com/office/drawing/2014/main" id="{C15CB069-8BA1-40E5-9CE3-F6BAA9AE4CA9}"/>
                      </a:ext>
                    </a:extLst>
                  </p:cNvPr>
                  <p:cNvCxnSpPr>
                    <a:cxnSpLocks/>
                  </p:cNvCxnSpPr>
                  <p:nvPr/>
                </p:nvCxnSpPr>
                <p:spPr>
                  <a:xfrm>
                    <a:off x="6093172"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5" name="Straight Connector 1364">
                    <a:extLst>
                      <a:ext uri="{FF2B5EF4-FFF2-40B4-BE49-F238E27FC236}">
                        <a16:creationId xmlns:a16="http://schemas.microsoft.com/office/drawing/2014/main" id="{5F5337D4-BD44-4B47-B6D6-087E9BC5E0DA}"/>
                      </a:ext>
                    </a:extLst>
                  </p:cNvPr>
                  <p:cNvCxnSpPr>
                    <a:cxnSpLocks/>
                  </p:cNvCxnSpPr>
                  <p:nvPr/>
                </p:nvCxnSpPr>
                <p:spPr>
                  <a:xfrm>
                    <a:off x="6736703"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6" name="Straight Connector 1365">
                    <a:extLst>
                      <a:ext uri="{FF2B5EF4-FFF2-40B4-BE49-F238E27FC236}">
                        <a16:creationId xmlns:a16="http://schemas.microsoft.com/office/drawing/2014/main" id="{A4500797-618E-4611-B934-A90ED5B207BD}"/>
                      </a:ext>
                    </a:extLst>
                  </p:cNvPr>
                  <p:cNvCxnSpPr>
                    <a:cxnSpLocks/>
                  </p:cNvCxnSpPr>
                  <p:nvPr/>
                </p:nvCxnSpPr>
                <p:spPr>
                  <a:xfrm>
                    <a:off x="7208501"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7" name="Straight Connector 1366">
                    <a:extLst>
                      <a:ext uri="{FF2B5EF4-FFF2-40B4-BE49-F238E27FC236}">
                        <a16:creationId xmlns:a16="http://schemas.microsoft.com/office/drawing/2014/main" id="{B81AFDE4-6505-4943-9342-525B7DDBCFAD}"/>
                      </a:ext>
                    </a:extLst>
                  </p:cNvPr>
                  <p:cNvCxnSpPr/>
                  <p:nvPr/>
                </p:nvCxnSpPr>
                <p:spPr>
                  <a:xfrm>
                    <a:off x="7478369"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8" name="Straight Connector 1367">
                    <a:extLst>
                      <a:ext uri="{FF2B5EF4-FFF2-40B4-BE49-F238E27FC236}">
                        <a16:creationId xmlns:a16="http://schemas.microsoft.com/office/drawing/2014/main" id="{12B04727-4706-4143-BFAD-61145E203749}"/>
                      </a:ext>
                    </a:extLst>
                  </p:cNvPr>
                  <p:cNvCxnSpPr>
                    <a:cxnSpLocks/>
                  </p:cNvCxnSpPr>
                  <p:nvPr/>
                </p:nvCxnSpPr>
                <p:spPr>
                  <a:xfrm>
                    <a:off x="5785559" y="6685995"/>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9" name="Straight Connector 1368">
                    <a:extLst>
                      <a:ext uri="{FF2B5EF4-FFF2-40B4-BE49-F238E27FC236}">
                        <a16:creationId xmlns:a16="http://schemas.microsoft.com/office/drawing/2014/main" id="{A80B5D49-4447-4D85-AB10-6778843B0DBC}"/>
                      </a:ext>
                    </a:extLst>
                  </p:cNvPr>
                  <p:cNvCxnSpPr>
                    <a:cxnSpLocks/>
                  </p:cNvCxnSpPr>
                  <p:nvPr/>
                </p:nvCxnSpPr>
                <p:spPr>
                  <a:xfrm>
                    <a:off x="5785560" y="4828980"/>
                    <a:ext cx="62371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0" name="Straight Connector 1369">
                    <a:extLst>
                      <a:ext uri="{FF2B5EF4-FFF2-40B4-BE49-F238E27FC236}">
                        <a16:creationId xmlns:a16="http://schemas.microsoft.com/office/drawing/2014/main" id="{95BC9D46-4DFD-437B-B630-A2D8FDCB39B2}"/>
                      </a:ext>
                    </a:extLst>
                  </p:cNvPr>
                  <p:cNvCxnSpPr>
                    <a:cxnSpLocks/>
                  </p:cNvCxnSpPr>
                  <p:nvPr/>
                </p:nvCxnSpPr>
                <p:spPr>
                  <a:xfrm>
                    <a:off x="5855383" y="3557885"/>
                    <a:ext cx="477459"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BBDE654-3147-460A-B9D8-C3400FC0677C}"/>
                    </a:ext>
                  </a:extLst>
                </p:cNvPr>
                <p:cNvGrpSpPr/>
                <p:nvPr/>
              </p:nvGrpSpPr>
              <p:grpSpPr>
                <a:xfrm>
                  <a:off x="4464569" y="1879548"/>
                  <a:ext cx="3309736" cy="3119186"/>
                  <a:chOff x="4439476" y="1552711"/>
                  <a:chExt cx="3309736" cy="3119186"/>
                </a:xfrm>
              </p:grpSpPr>
              <p:cxnSp>
                <p:nvCxnSpPr>
                  <p:cNvPr id="434" name="Straight Connector 433">
                    <a:extLst>
                      <a:ext uri="{FF2B5EF4-FFF2-40B4-BE49-F238E27FC236}">
                        <a16:creationId xmlns:a16="http://schemas.microsoft.com/office/drawing/2014/main" id="{7789F819-22EF-4730-AFA5-490283ED44DB}"/>
                      </a:ext>
                    </a:extLst>
                  </p:cNvPr>
                  <p:cNvCxnSpPr>
                    <a:cxnSpLocks/>
                  </p:cNvCxnSpPr>
                  <p:nvPr/>
                </p:nvCxnSpPr>
                <p:spPr>
                  <a:xfrm>
                    <a:off x="5811518" y="4644126"/>
                    <a:ext cx="559524" cy="0"/>
                  </a:xfrm>
                  <a:prstGeom prst="line">
                    <a:avLst/>
                  </a:prstGeom>
                  <a:ln>
                    <a:solidFill>
                      <a:schemeClr val="accent1">
                        <a:alpha val="28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6" name="Oval 435">
                    <a:extLst>
                      <a:ext uri="{FF2B5EF4-FFF2-40B4-BE49-F238E27FC236}">
                        <a16:creationId xmlns:a16="http://schemas.microsoft.com/office/drawing/2014/main" id="{EE99B072-FD4B-4E83-9D46-855484623928}"/>
                      </a:ext>
                    </a:extLst>
                  </p:cNvPr>
                  <p:cNvSpPr/>
                  <p:nvPr/>
                </p:nvSpPr>
                <p:spPr bwMode="auto">
                  <a:xfrm>
                    <a:off x="5253869" y="16614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t>
                    </a:r>
                  </a:p>
                </p:txBody>
              </p:sp>
              <p:sp>
                <p:nvSpPr>
                  <p:cNvPr id="437" name="Oval 436">
                    <a:extLst>
                      <a:ext uri="{FF2B5EF4-FFF2-40B4-BE49-F238E27FC236}">
                        <a16:creationId xmlns:a16="http://schemas.microsoft.com/office/drawing/2014/main" id="{2D8FE58D-6357-43C4-BC69-268E79C38C25}"/>
                      </a:ext>
                    </a:extLst>
                  </p:cNvPr>
                  <p:cNvSpPr/>
                  <p:nvPr/>
                </p:nvSpPr>
                <p:spPr bwMode="auto">
                  <a:xfrm flipH="1">
                    <a:off x="6066225" y="188575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a:t>
                    </a:r>
                  </a:p>
                </p:txBody>
              </p:sp>
              <p:sp>
                <p:nvSpPr>
                  <p:cNvPr id="438" name="Oval 437">
                    <a:extLst>
                      <a:ext uri="{FF2B5EF4-FFF2-40B4-BE49-F238E27FC236}">
                        <a16:creationId xmlns:a16="http://schemas.microsoft.com/office/drawing/2014/main" id="{E5CBC887-6C0E-473A-8D9D-16622537A5B0}"/>
                      </a:ext>
                    </a:extLst>
                  </p:cNvPr>
                  <p:cNvSpPr/>
                  <p:nvPr/>
                </p:nvSpPr>
                <p:spPr bwMode="auto">
                  <a:xfrm>
                    <a:off x="4439476"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g</a:t>
                    </a:r>
                  </a:p>
                </p:txBody>
              </p:sp>
              <p:sp>
                <p:nvSpPr>
                  <p:cNvPr id="439" name="Oval 438">
                    <a:extLst>
                      <a:ext uri="{FF2B5EF4-FFF2-40B4-BE49-F238E27FC236}">
                        <a16:creationId xmlns:a16="http://schemas.microsoft.com/office/drawing/2014/main" id="{67691748-8580-4761-B4FF-83091FF0C7A8}"/>
                      </a:ext>
                    </a:extLst>
                  </p:cNvPr>
                  <p:cNvSpPr/>
                  <p:nvPr/>
                </p:nvSpPr>
                <p:spPr bwMode="auto">
                  <a:xfrm flipH="1">
                    <a:off x="4896907"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0" name="Oval 439">
                    <a:extLst>
                      <a:ext uri="{FF2B5EF4-FFF2-40B4-BE49-F238E27FC236}">
                        <a16:creationId xmlns:a16="http://schemas.microsoft.com/office/drawing/2014/main" id="{0AE20277-E2B6-47AC-8BE4-9C664C410335}"/>
                      </a:ext>
                    </a:extLst>
                  </p:cNvPr>
                  <p:cNvSpPr/>
                  <p:nvPr/>
                </p:nvSpPr>
                <p:spPr bwMode="auto">
                  <a:xfrm>
                    <a:off x="4602897" y="258153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f</a:t>
                    </a:r>
                  </a:p>
                </p:txBody>
              </p:sp>
              <p:sp>
                <p:nvSpPr>
                  <p:cNvPr id="441" name="Oval 440">
                    <a:extLst>
                      <a:ext uri="{FF2B5EF4-FFF2-40B4-BE49-F238E27FC236}">
                        <a16:creationId xmlns:a16="http://schemas.microsoft.com/office/drawing/2014/main" id="{DAC49377-1ABC-4973-9C4C-BD175ABFDCCA}"/>
                      </a:ext>
                    </a:extLst>
                  </p:cNvPr>
                  <p:cNvSpPr/>
                  <p:nvPr/>
                </p:nvSpPr>
                <p:spPr bwMode="auto">
                  <a:xfrm>
                    <a:off x="5414140" y="19411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2" name="Oval 441">
                    <a:extLst>
                      <a:ext uri="{FF2B5EF4-FFF2-40B4-BE49-F238E27FC236}">
                        <a16:creationId xmlns:a16="http://schemas.microsoft.com/office/drawing/2014/main" id="{BB39CBFE-26D1-4A78-88AB-4B93FE4090BD}"/>
                      </a:ext>
                    </a:extLst>
                  </p:cNvPr>
                  <p:cNvSpPr/>
                  <p:nvPr/>
                </p:nvSpPr>
                <p:spPr bwMode="auto">
                  <a:xfrm flipH="1">
                    <a:off x="5038551" y="248033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h</a:t>
                    </a:r>
                  </a:p>
                </p:txBody>
              </p:sp>
              <p:sp>
                <p:nvSpPr>
                  <p:cNvPr id="443" name="Oval 442">
                    <a:extLst>
                      <a:ext uri="{FF2B5EF4-FFF2-40B4-BE49-F238E27FC236}">
                        <a16:creationId xmlns:a16="http://schemas.microsoft.com/office/drawing/2014/main" id="{D75B76B0-0595-4EF2-9BAE-FF9CA8076D74}"/>
                      </a:ext>
                    </a:extLst>
                  </p:cNvPr>
                  <p:cNvSpPr/>
                  <p:nvPr/>
                </p:nvSpPr>
                <p:spPr bwMode="auto">
                  <a:xfrm>
                    <a:off x="4757630" y="307622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k</a:t>
                    </a:r>
                  </a:p>
                </p:txBody>
              </p:sp>
              <p:sp>
                <p:nvSpPr>
                  <p:cNvPr id="444" name="Oval 443">
                    <a:extLst>
                      <a:ext uri="{FF2B5EF4-FFF2-40B4-BE49-F238E27FC236}">
                        <a16:creationId xmlns:a16="http://schemas.microsoft.com/office/drawing/2014/main" id="{048EDE05-FE94-4ABC-83EA-DE99BDC930CE}"/>
                      </a:ext>
                    </a:extLst>
                  </p:cNvPr>
                  <p:cNvSpPr/>
                  <p:nvPr/>
                </p:nvSpPr>
                <p:spPr bwMode="auto">
                  <a:xfrm>
                    <a:off x="5038551" y="3669165"/>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l</a:t>
                    </a:r>
                  </a:p>
                </p:txBody>
              </p:sp>
              <p:sp>
                <p:nvSpPr>
                  <p:cNvPr id="445" name="Oval 444">
                    <a:extLst>
                      <a:ext uri="{FF2B5EF4-FFF2-40B4-BE49-F238E27FC236}">
                        <a16:creationId xmlns:a16="http://schemas.microsoft.com/office/drawing/2014/main" id="{1A84F93A-9510-48E0-83F3-16609AC258C2}"/>
                      </a:ext>
                    </a:extLst>
                  </p:cNvPr>
                  <p:cNvSpPr/>
                  <p:nvPr/>
                </p:nvSpPr>
                <p:spPr bwMode="auto">
                  <a:xfrm>
                    <a:off x="5320439"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46" name="Oval 445">
                    <a:extLst>
                      <a:ext uri="{FF2B5EF4-FFF2-40B4-BE49-F238E27FC236}">
                        <a16:creationId xmlns:a16="http://schemas.microsoft.com/office/drawing/2014/main" id="{E6ED8AAA-244D-4B7B-AF04-0B9C1FBEE47E}"/>
                      </a:ext>
                    </a:extLst>
                  </p:cNvPr>
                  <p:cNvSpPr/>
                  <p:nvPr/>
                </p:nvSpPr>
                <p:spPr bwMode="auto">
                  <a:xfrm flipH="1">
                    <a:off x="4905144" y="4076466"/>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n</a:t>
                    </a:r>
                  </a:p>
                </p:txBody>
              </p:sp>
              <p:sp>
                <p:nvSpPr>
                  <p:cNvPr id="447" name="Oval 446">
                    <a:extLst>
                      <a:ext uri="{FF2B5EF4-FFF2-40B4-BE49-F238E27FC236}">
                        <a16:creationId xmlns:a16="http://schemas.microsoft.com/office/drawing/2014/main" id="{A3AD3F24-9423-4400-A97F-D15BA1957EEA}"/>
                      </a:ext>
                    </a:extLst>
                  </p:cNvPr>
                  <p:cNvSpPr/>
                  <p:nvPr/>
                </p:nvSpPr>
                <p:spPr bwMode="auto">
                  <a:xfrm>
                    <a:off x="5697498" y="372821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j</a:t>
                    </a:r>
                  </a:p>
                </p:txBody>
              </p:sp>
              <p:sp>
                <p:nvSpPr>
                  <p:cNvPr id="448" name="Oval 447">
                    <a:extLst>
                      <a:ext uri="{FF2B5EF4-FFF2-40B4-BE49-F238E27FC236}">
                        <a16:creationId xmlns:a16="http://schemas.microsoft.com/office/drawing/2014/main" id="{3E76127D-1A54-4669-A364-FD6FC3A310D2}"/>
                      </a:ext>
                    </a:extLst>
                  </p:cNvPr>
                  <p:cNvSpPr/>
                  <p:nvPr/>
                </p:nvSpPr>
                <p:spPr bwMode="auto">
                  <a:xfrm>
                    <a:off x="5404286" y="421047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m</a:t>
                    </a:r>
                  </a:p>
                </p:txBody>
              </p:sp>
              <p:sp>
                <p:nvSpPr>
                  <p:cNvPr id="449" name="Oval 448">
                    <a:extLst>
                      <a:ext uri="{FF2B5EF4-FFF2-40B4-BE49-F238E27FC236}">
                        <a16:creationId xmlns:a16="http://schemas.microsoft.com/office/drawing/2014/main" id="{D2EB44FA-4591-45EA-B7C7-536E0C14083E}"/>
                      </a:ext>
                    </a:extLst>
                  </p:cNvPr>
                  <p:cNvSpPr/>
                  <p:nvPr/>
                </p:nvSpPr>
                <p:spPr bwMode="auto">
                  <a:xfrm flipH="1">
                    <a:off x="6721855" y="193337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o</a:t>
                    </a:r>
                  </a:p>
                </p:txBody>
              </p:sp>
              <p:sp>
                <p:nvSpPr>
                  <p:cNvPr id="450" name="Oval 449">
                    <a:extLst>
                      <a:ext uri="{FF2B5EF4-FFF2-40B4-BE49-F238E27FC236}">
                        <a16:creationId xmlns:a16="http://schemas.microsoft.com/office/drawing/2014/main" id="{164CEF22-13FC-4DD7-9D22-60CB9E8822B3}"/>
                      </a:ext>
                    </a:extLst>
                  </p:cNvPr>
                  <p:cNvSpPr/>
                  <p:nvPr/>
                </p:nvSpPr>
                <p:spPr bwMode="auto">
                  <a:xfrm flipH="1">
                    <a:off x="7093903" y="248227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s</a:t>
                    </a:r>
                  </a:p>
                </p:txBody>
              </p:sp>
              <p:sp>
                <p:nvSpPr>
                  <p:cNvPr id="451" name="Oval 450">
                    <a:extLst>
                      <a:ext uri="{FF2B5EF4-FFF2-40B4-BE49-F238E27FC236}">
                        <a16:creationId xmlns:a16="http://schemas.microsoft.com/office/drawing/2014/main" id="{A690050A-F8AB-46A6-A698-39EB573A1B64}"/>
                      </a:ext>
                    </a:extLst>
                  </p:cNvPr>
                  <p:cNvSpPr/>
                  <p:nvPr/>
                </p:nvSpPr>
                <p:spPr bwMode="auto">
                  <a:xfrm flipH="1">
                    <a:off x="6438284" y="24290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r</a:t>
                    </a:r>
                  </a:p>
                </p:txBody>
              </p:sp>
              <p:sp>
                <p:nvSpPr>
                  <p:cNvPr id="452" name="Oval 451">
                    <a:extLst>
                      <a:ext uri="{FF2B5EF4-FFF2-40B4-BE49-F238E27FC236}">
                        <a16:creationId xmlns:a16="http://schemas.microsoft.com/office/drawing/2014/main" id="{8122FEAF-B36A-4BC2-80C7-48FF3C6E1801}"/>
                      </a:ext>
                    </a:extLst>
                  </p:cNvPr>
                  <p:cNvSpPr/>
                  <p:nvPr/>
                </p:nvSpPr>
                <p:spPr bwMode="auto">
                  <a:xfrm flipH="1">
                    <a:off x="6812017"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t</a:t>
                    </a:r>
                  </a:p>
                </p:txBody>
              </p:sp>
              <p:sp>
                <p:nvSpPr>
                  <p:cNvPr id="453" name="Oval 452">
                    <a:extLst>
                      <a:ext uri="{FF2B5EF4-FFF2-40B4-BE49-F238E27FC236}">
                        <a16:creationId xmlns:a16="http://schemas.microsoft.com/office/drawing/2014/main" id="{706E3BF7-E9E9-4BC0-90B2-0B0008B25924}"/>
                      </a:ext>
                    </a:extLst>
                  </p:cNvPr>
                  <p:cNvSpPr/>
                  <p:nvPr/>
                </p:nvSpPr>
                <p:spPr bwMode="auto">
                  <a:xfrm flipH="1">
                    <a:off x="7533808" y="258152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v</a:t>
                    </a:r>
                  </a:p>
                </p:txBody>
              </p:sp>
              <p:sp>
                <p:nvSpPr>
                  <p:cNvPr id="454" name="Oval 453">
                    <a:extLst>
                      <a:ext uri="{FF2B5EF4-FFF2-40B4-BE49-F238E27FC236}">
                        <a16:creationId xmlns:a16="http://schemas.microsoft.com/office/drawing/2014/main" id="{E0F0DD19-523A-4028-8848-872699725529}"/>
                      </a:ext>
                    </a:extLst>
                  </p:cNvPr>
                  <p:cNvSpPr/>
                  <p:nvPr/>
                </p:nvSpPr>
                <p:spPr bwMode="auto">
                  <a:xfrm flipH="1">
                    <a:off x="6438284" y="371601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w</a:t>
                    </a:r>
                  </a:p>
                </p:txBody>
              </p:sp>
              <p:sp>
                <p:nvSpPr>
                  <p:cNvPr id="455" name="Oval 454">
                    <a:extLst>
                      <a:ext uri="{FF2B5EF4-FFF2-40B4-BE49-F238E27FC236}">
                        <a16:creationId xmlns:a16="http://schemas.microsoft.com/office/drawing/2014/main" id="{916DD571-2B4A-480E-A968-75820118B75B}"/>
                      </a:ext>
                    </a:extLst>
                  </p:cNvPr>
                  <p:cNvSpPr/>
                  <p:nvPr/>
                </p:nvSpPr>
                <p:spPr bwMode="auto">
                  <a:xfrm flipH="1">
                    <a:off x="7533465" y="357453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x</a:t>
                    </a:r>
                  </a:p>
                </p:txBody>
              </p:sp>
              <p:sp>
                <p:nvSpPr>
                  <p:cNvPr id="456" name="Oval 455">
                    <a:extLst>
                      <a:ext uri="{FF2B5EF4-FFF2-40B4-BE49-F238E27FC236}">
                        <a16:creationId xmlns:a16="http://schemas.microsoft.com/office/drawing/2014/main" id="{56E801C6-A5D0-4B97-9A8A-89596EF054EA}"/>
                      </a:ext>
                    </a:extLst>
                  </p:cNvPr>
                  <p:cNvSpPr/>
                  <p:nvPr/>
                </p:nvSpPr>
                <p:spPr bwMode="auto">
                  <a:xfrm flipH="1">
                    <a:off x="6066225" y="425732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bb</a:t>
                    </a:r>
                  </a:p>
                </p:txBody>
              </p:sp>
              <p:sp>
                <p:nvSpPr>
                  <p:cNvPr id="457" name="Oval 456">
                    <a:extLst>
                      <a:ext uri="{FF2B5EF4-FFF2-40B4-BE49-F238E27FC236}">
                        <a16:creationId xmlns:a16="http://schemas.microsoft.com/office/drawing/2014/main" id="{D6CFBE6A-FB6F-4C0D-BCC2-4DFA75C07E64}"/>
                      </a:ext>
                    </a:extLst>
                  </p:cNvPr>
                  <p:cNvSpPr/>
                  <p:nvPr/>
                </p:nvSpPr>
                <p:spPr bwMode="auto">
                  <a:xfrm flipH="1">
                    <a:off x="7228340" y="408715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y</a:t>
                    </a:r>
                  </a:p>
                </p:txBody>
              </p:sp>
              <p:sp>
                <p:nvSpPr>
                  <p:cNvPr id="458" name="Oval 457">
                    <a:extLst>
                      <a:ext uri="{FF2B5EF4-FFF2-40B4-BE49-F238E27FC236}">
                        <a16:creationId xmlns:a16="http://schemas.microsoft.com/office/drawing/2014/main" id="{2F420E40-0171-43BD-A3D4-678E129EADC8}"/>
                      </a:ext>
                    </a:extLst>
                  </p:cNvPr>
                  <p:cNvSpPr/>
                  <p:nvPr/>
                </p:nvSpPr>
                <p:spPr bwMode="auto">
                  <a:xfrm flipH="1">
                    <a:off x="6718314" y="4217985"/>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a:t>
                    </a:r>
                  </a:p>
                </p:txBody>
              </p:sp>
              <p:sp>
                <p:nvSpPr>
                  <p:cNvPr id="459" name="Oval 458">
                    <a:extLst>
                      <a:ext uri="{FF2B5EF4-FFF2-40B4-BE49-F238E27FC236}">
                        <a16:creationId xmlns:a16="http://schemas.microsoft.com/office/drawing/2014/main" id="{0EACADD9-5326-46A4-BABB-8602814E7A8D}"/>
                      </a:ext>
                    </a:extLst>
                  </p:cNvPr>
                  <p:cNvSpPr/>
                  <p:nvPr/>
                </p:nvSpPr>
                <p:spPr bwMode="auto">
                  <a:xfrm flipH="1">
                    <a:off x="6344581" y="460284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c</a:t>
                    </a:r>
                  </a:p>
                </p:txBody>
              </p:sp>
              <p:sp>
                <p:nvSpPr>
                  <p:cNvPr id="460" name="Oval 459">
                    <a:extLst>
                      <a:ext uri="{FF2B5EF4-FFF2-40B4-BE49-F238E27FC236}">
                        <a16:creationId xmlns:a16="http://schemas.microsoft.com/office/drawing/2014/main" id="{06A0F236-B430-4E62-8701-C8F3684645A0}"/>
                      </a:ext>
                    </a:extLst>
                  </p:cNvPr>
                  <p:cNvSpPr/>
                  <p:nvPr/>
                </p:nvSpPr>
                <p:spPr bwMode="auto">
                  <a:xfrm flipH="1">
                    <a:off x="7380132" y="307742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u</a:t>
                    </a:r>
                  </a:p>
                </p:txBody>
              </p:sp>
              <p:sp>
                <p:nvSpPr>
                  <p:cNvPr id="461" name="Oval 460">
                    <a:extLst>
                      <a:ext uri="{FF2B5EF4-FFF2-40B4-BE49-F238E27FC236}">
                        <a16:creationId xmlns:a16="http://schemas.microsoft.com/office/drawing/2014/main" id="{1137B61E-7E48-449D-A898-2EF89F603905}"/>
                      </a:ext>
                    </a:extLst>
                  </p:cNvPr>
                  <p:cNvSpPr/>
                  <p:nvPr/>
                </p:nvSpPr>
                <p:spPr bwMode="auto">
                  <a:xfrm flipH="1">
                    <a:off x="6873793" y="449982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dd</a:t>
                    </a:r>
                  </a:p>
                </p:txBody>
              </p:sp>
              <p:sp>
                <p:nvSpPr>
                  <p:cNvPr id="462" name="Oval 461">
                    <a:extLst>
                      <a:ext uri="{FF2B5EF4-FFF2-40B4-BE49-F238E27FC236}">
                        <a16:creationId xmlns:a16="http://schemas.microsoft.com/office/drawing/2014/main" id="{E1EECA82-6DF2-4FB1-872C-B8AA28DC8910}"/>
                      </a:ext>
                    </a:extLst>
                  </p:cNvPr>
                  <p:cNvSpPr/>
                  <p:nvPr/>
                </p:nvSpPr>
                <p:spPr bwMode="auto">
                  <a:xfrm rot="13310147" flipH="1">
                    <a:off x="5780078" y="155271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1</a:t>
                    </a:r>
                  </a:p>
                </p:txBody>
              </p:sp>
              <p:sp>
                <p:nvSpPr>
                  <p:cNvPr id="463" name="Oval 462">
                    <a:extLst>
                      <a:ext uri="{FF2B5EF4-FFF2-40B4-BE49-F238E27FC236}">
                        <a16:creationId xmlns:a16="http://schemas.microsoft.com/office/drawing/2014/main" id="{0A7CC8D0-4060-43EF-8BBF-C9D263659978}"/>
                      </a:ext>
                    </a:extLst>
                  </p:cNvPr>
                  <p:cNvSpPr/>
                  <p:nvPr/>
                </p:nvSpPr>
                <p:spPr bwMode="auto">
                  <a:xfrm rot="13310147" flipH="1">
                    <a:off x="5697497" y="243348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2</a:t>
                    </a:r>
                  </a:p>
                </p:txBody>
              </p:sp>
              <p:sp>
                <p:nvSpPr>
                  <p:cNvPr id="464" name="Oval 463">
                    <a:extLst>
                      <a:ext uri="{FF2B5EF4-FFF2-40B4-BE49-F238E27FC236}">
                        <a16:creationId xmlns:a16="http://schemas.microsoft.com/office/drawing/2014/main" id="{17891C04-04DF-4C5D-9F36-946FE020D4ED}"/>
                      </a:ext>
                    </a:extLst>
                  </p:cNvPr>
                  <p:cNvSpPr/>
                  <p:nvPr/>
                </p:nvSpPr>
                <p:spPr bwMode="auto">
                  <a:xfrm rot="13310147" flipV="1">
                    <a:off x="7097651" y="3670741"/>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4</a:t>
                    </a:r>
                  </a:p>
                </p:txBody>
              </p:sp>
              <p:sp>
                <p:nvSpPr>
                  <p:cNvPr id="465" name="Oval 464">
                    <a:extLst>
                      <a:ext uri="{FF2B5EF4-FFF2-40B4-BE49-F238E27FC236}">
                        <a16:creationId xmlns:a16="http://schemas.microsoft.com/office/drawing/2014/main" id="{07A2A331-FC4E-42D8-A57D-269F06E56922}"/>
                      </a:ext>
                    </a:extLst>
                  </p:cNvPr>
                  <p:cNvSpPr/>
                  <p:nvPr/>
                </p:nvSpPr>
                <p:spPr bwMode="auto">
                  <a:xfrm rot="13310147" flipV="1">
                    <a:off x="6874996" y="166281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3</a:t>
                    </a:r>
                  </a:p>
                </p:txBody>
              </p:sp>
              <p:sp>
                <p:nvSpPr>
                  <p:cNvPr id="466" name="Oval 465">
                    <a:extLst>
                      <a:ext uri="{FF2B5EF4-FFF2-40B4-BE49-F238E27FC236}">
                        <a16:creationId xmlns:a16="http://schemas.microsoft.com/office/drawing/2014/main" id="{D19BCCA2-5E44-4C79-A4DA-C7C9828364F9}"/>
                      </a:ext>
                    </a:extLst>
                  </p:cNvPr>
                  <p:cNvSpPr/>
                  <p:nvPr/>
                </p:nvSpPr>
                <p:spPr bwMode="auto">
                  <a:xfrm flipH="1">
                    <a:off x="6068533"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7" name="Oval 466">
                    <a:extLst>
                      <a:ext uri="{FF2B5EF4-FFF2-40B4-BE49-F238E27FC236}">
                        <a16:creationId xmlns:a16="http://schemas.microsoft.com/office/drawing/2014/main" id="{8E8E2E3F-054C-4BEE-8AA7-2D021E0D0117}"/>
                      </a:ext>
                    </a:extLst>
                  </p:cNvPr>
                  <p:cNvSpPr/>
                  <p:nvPr/>
                </p:nvSpPr>
                <p:spPr bwMode="auto">
                  <a:xfrm flipH="1">
                    <a:off x="6349964" y="155510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8" name="Oval 467">
                    <a:extLst>
                      <a:ext uri="{FF2B5EF4-FFF2-40B4-BE49-F238E27FC236}">
                        <a16:creationId xmlns:a16="http://schemas.microsoft.com/office/drawing/2014/main" id="{A4D43ECB-8350-40F1-B46E-EB2DDEAF35E8}"/>
                      </a:ext>
                    </a:extLst>
                  </p:cNvPr>
                  <p:cNvSpPr/>
                  <p:nvPr/>
                </p:nvSpPr>
                <p:spPr bwMode="auto">
                  <a:xfrm flipH="1">
                    <a:off x="7689917" y="3084083"/>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9" name="Oval 468">
                    <a:extLst>
                      <a:ext uri="{FF2B5EF4-FFF2-40B4-BE49-F238E27FC236}">
                        <a16:creationId xmlns:a16="http://schemas.microsoft.com/office/drawing/2014/main" id="{2D9E9924-B9B4-4D9B-A0A2-E6567943D2B3}"/>
                      </a:ext>
                    </a:extLst>
                  </p:cNvPr>
                  <p:cNvSpPr/>
                  <p:nvPr/>
                </p:nvSpPr>
                <p:spPr bwMode="auto">
                  <a:xfrm flipH="1">
                    <a:off x="5782901" y="461260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0" name="Oval 469">
                    <a:extLst>
                      <a:ext uri="{FF2B5EF4-FFF2-40B4-BE49-F238E27FC236}">
                        <a16:creationId xmlns:a16="http://schemas.microsoft.com/office/drawing/2014/main" id="{1155334C-F5D0-4D1B-AAF9-D73F644B4809}"/>
                      </a:ext>
                    </a:extLst>
                  </p:cNvPr>
                  <p:cNvSpPr/>
                  <p:nvPr/>
                </p:nvSpPr>
                <p:spPr bwMode="auto">
                  <a:xfrm flipH="1">
                    <a:off x="5253640" y="44949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1" name="Oval 470">
                    <a:extLst>
                      <a:ext uri="{FF2B5EF4-FFF2-40B4-BE49-F238E27FC236}">
                        <a16:creationId xmlns:a16="http://schemas.microsoft.com/office/drawing/2014/main" id="{334AA787-6945-4DA0-836F-DA8679F3DC5C}"/>
                      </a:ext>
                    </a:extLst>
                  </p:cNvPr>
                  <p:cNvSpPr/>
                  <p:nvPr/>
                </p:nvSpPr>
                <p:spPr bwMode="auto">
                  <a:xfrm flipH="1">
                    <a:off x="4602567" y="358393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2" name="Oval 471">
                    <a:extLst>
                      <a:ext uri="{FF2B5EF4-FFF2-40B4-BE49-F238E27FC236}">
                        <a16:creationId xmlns:a16="http://schemas.microsoft.com/office/drawing/2014/main" id="{543F6730-7335-4016-87F7-61BD1059D988}"/>
                      </a:ext>
                    </a:extLst>
                  </p:cNvPr>
                  <p:cNvSpPr/>
                  <p:nvPr/>
                </p:nvSpPr>
                <p:spPr bwMode="auto">
                  <a:xfrm flipH="1">
                    <a:off x="7239795"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p</a:t>
                    </a:r>
                  </a:p>
                </p:txBody>
              </p:sp>
              <p:sp>
                <p:nvSpPr>
                  <p:cNvPr id="474" name="Freeform: Shape 213">
                    <a:extLst>
                      <a:ext uri="{FF2B5EF4-FFF2-40B4-BE49-F238E27FC236}">
                        <a16:creationId xmlns:a16="http://schemas.microsoft.com/office/drawing/2014/main" id="{070EEDE6-1DB6-49CD-AA34-3B5C65645A76}"/>
                      </a:ext>
                    </a:extLst>
                  </p:cNvPr>
                  <p:cNvSpPr/>
                  <p:nvPr/>
                </p:nvSpPr>
                <p:spPr>
                  <a:xfrm flipH="1">
                    <a:off x="4847579" y="2867993"/>
                    <a:ext cx="2496840" cy="468341"/>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solidFill>
                    <a:srgbClr val="CF588E"/>
                  </a:solidFill>
                  <a:ln w="10795" cap="flat" cmpd="sng" algn="ctr">
                    <a:noFill/>
                    <a:prstDash val="solid"/>
                  </a:ln>
                  <a:effectLst>
                    <a:glow rad="685800">
                      <a:schemeClr val="bg1"/>
                    </a:glow>
                    <a:softEdge rad="254000"/>
                  </a:effectLst>
                </p:spPr>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endParaRPr>
                  </a:p>
                </p:txBody>
              </p:sp>
            </p:grpSp>
            <p:grpSp>
              <p:nvGrpSpPr>
                <p:cNvPr id="1197" name="Group 1196">
                  <a:extLst>
                    <a:ext uri="{FF2B5EF4-FFF2-40B4-BE49-F238E27FC236}">
                      <a16:creationId xmlns:a16="http://schemas.microsoft.com/office/drawing/2014/main" id="{50D22592-5592-4531-B078-9C2753BE7BB7}"/>
                    </a:ext>
                  </a:extLst>
                </p:cNvPr>
                <p:cNvGrpSpPr/>
                <p:nvPr/>
              </p:nvGrpSpPr>
              <p:grpSpPr>
                <a:xfrm>
                  <a:off x="4312787" y="1693684"/>
                  <a:ext cx="3566426" cy="3470633"/>
                  <a:chOff x="4311697" y="1366847"/>
                  <a:chExt cx="3566426" cy="3470633"/>
                </a:xfrm>
              </p:grpSpPr>
              <p:sp>
                <p:nvSpPr>
                  <p:cNvPr id="1198" name="Oval 1197" descr="globe">
                    <a:extLst>
                      <a:ext uri="{FF2B5EF4-FFF2-40B4-BE49-F238E27FC236}">
                        <a16:creationId xmlns:a16="http://schemas.microsoft.com/office/drawing/2014/main" id="{79965D89-9D9B-4A48-A541-ADCAB12144CA}"/>
                      </a:ext>
                    </a:extLst>
                  </p:cNvPr>
                  <p:cNvSpPr/>
                  <p:nvPr/>
                </p:nvSpPr>
                <p:spPr bwMode="auto">
                  <a:xfrm>
                    <a:off x="4359717" y="1366847"/>
                    <a:ext cx="3472566" cy="3470633"/>
                  </a:xfrm>
                  <a:prstGeom prst="ellipse">
                    <a:avLst/>
                  </a:prstGeom>
                  <a:solidFill>
                    <a:schemeClr val="bg1">
                      <a:alpha val="0"/>
                    </a:schemeClr>
                  </a:solidFill>
                  <a:ln w="19050">
                    <a:solidFill>
                      <a:srgbClr val="652D9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99" name="Oval 1198">
                    <a:extLst>
                      <a:ext uri="{FF2B5EF4-FFF2-40B4-BE49-F238E27FC236}">
                        <a16:creationId xmlns:a16="http://schemas.microsoft.com/office/drawing/2014/main" id="{9C4AB875-9E06-44EB-911B-42996C9C8FFE}"/>
                      </a:ext>
                      <a:ext uri="{C183D7F6-B498-43B3-948B-1728B52AA6E4}">
                        <adec:decorative xmlns:adec="http://schemas.microsoft.com/office/drawing/2017/decorative" val="1"/>
                      </a:ext>
                    </a:extLst>
                  </p:cNvPr>
                  <p:cNvSpPr/>
                  <p:nvPr/>
                </p:nvSpPr>
                <p:spPr>
                  <a:xfrm rot="10800000" flipH="1" flipV="1">
                    <a:off x="7786445"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0" name="Oval 1199">
                    <a:extLst>
                      <a:ext uri="{FF2B5EF4-FFF2-40B4-BE49-F238E27FC236}">
                        <a16:creationId xmlns:a16="http://schemas.microsoft.com/office/drawing/2014/main" id="{CECD8D9E-CB67-4DAC-B6FB-27827B0AD64A}"/>
                      </a:ext>
                      <a:ext uri="{C183D7F6-B498-43B3-948B-1728B52AA6E4}">
                        <adec:decorative xmlns:adec="http://schemas.microsoft.com/office/drawing/2017/decorative" val="1"/>
                      </a:ext>
                    </a:extLst>
                  </p:cNvPr>
                  <p:cNvSpPr/>
                  <p:nvPr/>
                </p:nvSpPr>
                <p:spPr>
                  <a:xfrm rot="10800000" flipH="1" flipV="1">
                    <a:off x="4311697"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371" name="Oval 1370">
                <a:extLst>
                  <a:ext uri="{FF2B5EF4-FFF2-40B4-BE49-F238E27FC236}">
                    <a16:creationId xmlns:a16="http://schemas.microsoft.com/office/drawing/2014/main" id="{8DD59EA6-D336-4CF3-A744-5495BAEF6397}"/>
                  </a:ext>
                </a:extLst>
              </p:cNvPr>
              <p:cNvSpPr/>
              <p:nvPr/>
            </p:nvSpPr>
            <p:spPr bwMode="auto">
              <a:xfrm>
                <a:off x="4846879" y="2795112"/>
                <a:ext cx="2289965" cy="1418652"/>
              </a:xfrm>
              <a:prstGeom prst="ellipse">
                <a:avLst/>
              </a:prstGeom>
              <a:solidFill>
                <a:schemeClr val="bg1"/>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a:ln>
                      <a:noFill/>
                    </a:ln>
                    <a:solidFill>
                      <a:srgbClr val="652D90"/>
                    </a:solidFill>
                    <a:effectLst/>
                    <a:uLnTx/>
                    <a:uFillTx/>
                    <a:latin typeface="Segoe UI Semibold"/>
                    <a:ea typeface="+mn-ea"/>
                    <a:cs typeface="Segoe UI"/>
                  </a:rPr>
                  <a:t>DATA</a:t>
                </a:r>
              </a:p>
            </p:txBody>
          </p:sp>
        </p:grpSp>
      </p:grpSp>
      <p:sp>
        <p:nvSpPr>
          <p:cNvPr id="226" name="TextBox 225">
            <a:extLst>
              <a:ext uri="{FF2B5EF4-FFF2-40B4-BE49-F238E27FC236}">
                <a16:creationId xmlns:a16="http://schemas.microsoft.com/office/drawing/2014/main" id="{2FC29CF5-346A-4CB6-91E9-E16303AB8FCD}"/>
              </a:ext>
            </a:extLst>
          </p:cNvPr>
          <p:cNvSpPr txBox="1">
            <a:spLocks/>
          </p:cNvSpPr>
          <p:nvPr/>
        </p:nvSpPr>
        <p:spPr>
          <a:xfrm flipH="1">
            <a:off x="1546618" y="1920352"/>
            <a:ext cx="2827922" cy="914400"/>
          </a:xfrm>
          <a:prstGeom prst="rect">
            <a:avLst/>
          </a:prstGeom>
          <a:noFill/>
        </p:spPr>
        <p:txBody>
          <a:bodyPr wrap="square" lIns="0" tIns="0" rIns="0" bIns="0" rtlCol="0" anchor="t">
            <a:noAutofit/>
          </a:bodyPr>
          <a:lstStyle/>
          <a:p>
            <a:pPr marL="0" marR="0" lvl="0" indent="0" algn="r" defTabSz="914367" rtl="0" eaLnBrk="1" fontAlgn="base"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of consumers say friendly and/or </a:t>
            </a: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knowledgeable employees</a:t>
            </a:r>
            <a:r>
              <a:rPr kumimoji="0" lang="en-US" sz="1400" b="1"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 </a:t>
            </a:r>
            <a:r>
              <a:rPr kumimoji="0" lang="en-US" sz="14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are </a:t>
            </a:r>
            <a:r>
              <a:rPr kumimoji="0" lang="en-US" sz="1400" b="1"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most important aspect </a:t>
            </a:r>
            <a:r>
              <a:rPr kumimoji="0" lang="en-US" sz="14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of</a:t>
            </a:r>
            <a:br>
              <a:rPr kumimoji="0" lang="en-US" sz="14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br>
            <a:r>
              <a:rPr kumimoji="0" lang="en-US" sz="140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in-store customer service.</a:t>
            </a:r>
            <a:r>
              <a:rPr kumimoji="0" lang="en-US" sz="1400" b="0" i="0" u="none" strike="noStrike" kern="1200" cap="none" spc="0" normalizeH="0" baseline="30000" noProof="0">
                <a:ln>
                  <a:noFill/>
                </a:ln>
                <a:solidFill>
                  <a:prstClr val="black"/>
                </a:solidFill>
                <a:effectLst/>
                <a:uLnTx/>
                <a:uFillTx/>
                <a:latin typeface="Segoe UI"/>
                <a:ea typeface="+mn-ea"/>
                <a:cs typeface="Segoe UI" panose="020B0502040204020203" pitchFamily="34" charset="0"/>
              </a:rPr>
              <a:t>1</a:t>
            </a:r>
            <a:endParaRPr kumimoji="0" lang="en-US" sz="1400" b="0" i="0" u="none" strike="noStrike" kern="1200" cap="none" spc="0" normalizeH="0" baseline="30000" noProof="0">
              <a:ln>
                <a:noFill/>
              </a:ln>
              <a:solidFill>
                <a:prstClr val="black"/>
              </a:solidFill>
              <a:effectLst/>
              <a:uLnTx/>
              <a:uFillTx/>
              <a:latin typeface="Segoe UI"/>
              <a:ea typeface="+mn-ea"/>
              <a:cs typeface="+mn-cs"/>
            </a:endParaRPr>
          </a:p>
        </p:txBody>
      </p:sp>
      <p:sp>
        <p:nvSpPr>
          <p:cNvPr id="228" name="TextBox 227">
            <a:extLst>
              <a:ext uri="{FF2B5EF4-FFF2-40B4-BE49-F238E27FC236}">
                <a16:creationId xmlns:a16="http://schemas.microsoft.com/office/drawing/2014/main" id="{C161394A-1CDD-4EDE-934E-2D90712CF5F6}"/>
              </a:ext>
            </a:extLst>
          </p:cNvPr>
          <p:cNvSpPr txBox="1"/>
          <p:nvPr/>
        </p:nvSpPr>
        <p:spPr>
          <a:xfrm flipH="1">
            <a:off x="757638" y="2219199"/>
            <a:ext cx="830356" cy="61555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CF588E"/>
                </a:solidFill>
                <a:effectLst/>
                <a:uLnTx/>
                <a:uFillTx/>
                <a:latin typeface="Segoe UI Semibold"/>
                <a:ea typeface="+mn-ea"/>
                <a:cs typeface="Segoe UI Semibold" panose="020B0502040204020203" pitchFamily="34" charset="0"/>
              </a:rPr>
              <a:t>62</a:t>
            </a:r>
            <a:r>
              <a:rPr kumimoji="0" lang="en-US" sz="2400" b="0" i="0" u="none" strike="noStrike" kern="1200" cap="none" spc="0" normalizeH="0" baseline="0" noProof="0">
                <a:ln>
                  <a:noFill/>
                </a:ln>
                <a:solidFill>
                  <a:srgbClr val="CF588E"/>
                </a:solidFill>
                <a:effectLst/>
                <a:uLnTx/>
                <a:uFillTx/>
                <a:latin typeface="Segoe UI Semibold"/>
                <a:ea typeface="+mn-ea"/>
                <a:cs typeface="Segoe UI Semibold" panose="020B0502040204020203" pitchFamily="34" charset="0"/>
              </a:rPr>
              <a:t>%</a:t>
            </a:r>
            <a:endParaRPr kumimoji="0" lang="en-IN" sz="3600" b="0" i="0" u="none" strike="noStrike" kern="1200" cap="none" spc="0" normalizeH="0" baseline="0" noProof="0">
              <a:ln>
                <a:noFill/>
              </a:ln>
              <a:solidFill>
                <a:srgbClr val="CF588E"/>
              </a:solidFill>
              <a:effectLst/>
              <a:uLnTx/>
              <a:uFillTx/>
              <a:latin typeface="Segoe UI Semibold"/>
              <a:ea typeface="+mn-ea"/>
              <a:cs typeface="Segoe UI Semibold" panose="020B0502040204020203" pitchFamily="34" charset="0"/>
            </a:endParaRPr>
          </a:p>
        </p:txBody>
      </p:sp>
    </p:spTree>
    <p:extLst>
      <p:ext uri="{BB962C8B-B14F-4D97-AF65-F5344CB8AC3E}">
        <p14:creationId xmlns:p14="http://schemas.microsoft.com/office/powerpoint/2010/main" val="576894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TextBox 174">
            <a:extLst>
              <a:ext uri="{FF2B5EF4-FFF2-40B4-BE49-F238E27FC236}">
                <a16:creationId xmlns:a16="http://schemas.microsoft.com/office/drawing/2014/main" id="{30DA4368-3383-4F46-951F-C68C7ABDDEE5}"/>
              </a:ext>
            </a:extLst>
          </p:cNvPr>
          <p:cNvSpPr txBox="1"/>
          <p:nvPr/>
        </p:nvSpPr>
        <p:spPr>
          <a:xfrm>
            <a:off x="457200" y="1023489"/>
            <a:ext cx="11277600" cy="8309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Recommender Systems are a technological proxy for a social process. </a:t>
            </a:r>
            <a:r>
              <a:rPr lang="en-US">
                <a:solidFill>
                  <a:prstClr val="black"/>
                </a:solidFill>
                <a:latin typeface="Segoe UI"/>
              </a:rPr>
              <a:t> It automates aspects of a completely different information discovery model where people try to find other people with similar tastes and then ask them to suggest new things.</a:t>
            </a: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Title 20">
            <a:extLst>
              <a:ext uri="{FF2B5EF4-FFF2-40B4-BE49-F238E27FC236}">
                <a16:creationId xmlns:a16="http://schemas.microsoft.com/office/drawing/2014/main" id="{D3544960-AA74-454D-927B-76AE18059CBD}"/>
              </a:ext>
            </a:extLst>
          </p:cNvPr>
          <p:cNvSpPr>
            <a:spLocks noGrp="1"/>
          </p:cNvSpPr>
          <p:nvPr>
            <p:ph type="title"/>
          </p:nvPr>
        </p:nvSpPr>
        <p:spPr/>
        <p:txBody>
          <a:bodyPr/>
          <a:lstStyle/>
          <a:p>
            <a:r>
              <a:rPr lang="en-US" dirty="0"/>
              <a:t>At the center of sales and marketing channels</a:t>
            </a:r>
          </a:p>
        </p:txBody>
      </p:sp>
      <p:sp>
        <p:nvSpPr>
          <p:cNvPr id="65" name="Hexagon 116">
            <a:extLst>
              <a:ext uri="{FF2B5EF4-FFF2-40B4-BE49-F238E27FC236}">
                <a16:creationId xmlns:a16="http://schemas.microsoft.com/office/drawing/2014/main" id="{38A3C6F5-ED0C-4FFA-86C0-6080AFF6D6DF}"/>
              </a:ext>
            </a:extLst>
          </p:cNvPr>
          <p:cNvSpPr/>
          <p:nvPr/>
        </p:nvSpPr>
        <p:spPr>
          <a:xfrm>
            <a:off x="8399339" y="1585786"/>
            <a:ext cx="2158241" cy="939985"/>
          </a:xfrm>
          <a:custGeom>
            <a:avLst/>
            <a:gdLst>
              <a:gd name="connsiteX0" fmla="*/ 0 w 2147851"/>
              <a:gd name="connsiteY0" fmla="*/ 939985 h 1879970"/>
              <a:gd name="connsiteX1" fmla="*/ 562055 w 2147851"/>
              <a:gd name="connsiteY1" fmla="*/ 0 h 1879970"/>
              <a:gd name="connsiteX2" fmla="*/ 1585796 w 2147851"/>
              <a:gd name="connsiteY2" fmla="*/ 0 h 1879970"/>
              <a:gd name="connsiteX3" fmla="*/ 2147851 w 2147851"/>
              <a:gd name="connsiteY3" fmla="*/ 939985 h 1879970"/>
              <a:gd name="connsiteX4" fmla="*/ 1585796 w 2147851"/>
              <a:gd name="connsiteY4" fmla="*/ 1879970 h 1879970"/>
              <a:gd name="connsiteX5" fmla="*/ 562055 w 2147851"/>
              <a:gd name="connsiteY5" fmla="*/ 1879970 h 1879970"/>
              <a:gd name="connsiteX6" fmla="*/ 0 w 2147851"/>
              <a:gd name="connsiteY6" fmla="*/ 939985 h 1879970"/>
              <a:gd name="connsiteX0" fmla="*/ 562055 w 2147851"/>
              <a:gd name="connsiteY0" fmla="*/ 0 h 1879970"/>
              <a:gd name="connsiteX1" fmla="*/ 1585796 w 2147851"/>
              <a:gd name="connsiteY1" fmla="*/ 0 h 1879970"/>
              <a:gd name="connsiteX2" fmla="*/ 2147851 w 2147851"/>
              <a:gd name="connsiteY2" fmla="*/ 939985 h 1879970"/>
              <a:gd name="connsiteX3" fmla="*/ 1585796 w 2147851"/>
              <a:gd name="connsiteY3" fmla="*/ 1879970 h 1879970"/>
              <a:gd name="connsiteX4" fmla="*/ 562055 w 2147851"/>
              <a:gd name="connsiteY4" fmla="*/ 1879970 h 1879970"/>
              <a:gd name="connsiteX5" fmla="*/ 0 w 2147851"/>
              <a:gd name="connsiteY5" fmla="*/ 939985 h 1879970"/>
              <a:gd name="connsiteX6" fmla="*/ 653495 w 2147851"/>
              <a:gd name="connsiteY6" fmla="*/ 91440 h 1879970"/>
              <a:gd name="connsiteX0" fmla="*/ 562055 w 2147851"/>
              <a:gd name="connsiteY0" fmla="*/ 0 h 1879970"/>
              <a:gd name="connsiteX1" fmla="*/ 1585796 w 2147851"/>
              <a:gd name="connsiteY1" fmla="*/ 0 h 1879970"/>
              <a:gd name="connsiteX2" fmla="*/ 2147851 w 2147851"/>
              <a:gd name="connsiteY2" fmla="*/ 939985 h 1879970"/>
              <a:gd name="connsiteX3" fmla="*/ 1585796 w 2147851"/>
              <a:gd name="connsiteY3" fmla="*/ 1879970 h 1879970"/>
              <a:gd name="connsiteX4" fmla="*/ 562055 w 2147851"/>
              <a:gd name="connsiteY4" fmla="*/ 1879970 h 1879970"/>
              <a:gd name="connsiteX5" fmla="*/ 0 w 2147851"/>
              <a:gd name="connsiteY5" fmla="*/ 939985 h 1879970"/>
              <a:gd name="connsiteX0" fmla="*/ 1585796 w 2147851"/>
              <a:gd name="connsiteY0" fmla="*/ 0 h 1879970"/>
              <a:gd name="connsiteX1" fmla="*/ 2147851 w 2147851"/>
              <a:gd name="connsiteY1" fmla="*/ 939985 h 1879970"/>
              <a:gd name="connsiteX2" fmla="*/ 1585796 w 2147851"/>
              <a:gd name="connsiteY2" fmla="*/ 1879970 h 1879970"/>
              <a:gd name="connsiteX3" fmla="*/ 562055 w 2147851"/>
              <a:gd name="connsiteY3" fmla="*/ 1879970 h 1879970"/>
              <a:gd name="connsiteX4" fmla="*/ 0 w 2147851"/>
              <a:gd name="connsiteY4" fmla="*/ 939985 h 1879970"/>
              <a:gd name="connsiteX0" fmla="*/ 2147851 w 2147851"/>
              <a:gd name="connsiteY0" fmla="*/ 0 h 939985"/>
              <a:gd name="connsiteX1" fmla="*/ 1585796 w 2147851"/>
              <a:gd name="connsiteY1" fmla="*/ 939985 h 939985"/>
              <a:gd name="connsiteX2" fmla="*/ 562055 w 2147851"/>
              <a:gd name="connsiteY2" fmla="*/ 939985 h 939985"/>
              <a:gd name="connsiteX3" fmla="*/ 0 w 2147851"/>
              <a:gd name="connsiteY3" fmla="*/ 0 h 939985"/>
            </a:gdLst>
            <a:ahLst/>
            <a:cxnLst>
              <a:cxn ang="0">
                <a:pos x="connsiteX0" y="connsiteY0"/>
              </a:cxn>
              <a:cxn ang="0">
                <a:pos x="connsiteX1" y="connsiteY1"/>
              </a:cxn>
              <a:cxn ang="0">
                <a:pos x="connsiteX2" y="connsiteY2"/>
              </a:cxn>
              <a:cxn ang="0">
                <a:pos x="connsiteX3" y="connsiteY3"/>
              </a:cxn>
            </a:cxnLst>
            <a:rect l="l" t="t" r="r" b="b"/>
            <a:pathLst>
              <a:path w="2147851" h="939985">
                <a:moveTo>
                  <a:pt x="2147851" y="0"/>
                </a:moveTo>
                <a:lnTo>
                  <a:pt x="1585796" y="939985"/>
                </a:lnTo>
                <a:lnTo>
                  <a:pt x="562055" y="939985"/>
                </a:lnTo>
                <a:lnTo>
                  <a:pt x="0" y="0"/>
                </a:lnTo>
              </a:path>
            </a:pathLst>
          </a:custGeom>
          <a:noFill/>
          <a:ln>
            <a:gradFill flip="none" rotWithShape="1">
              <a:gsLst>
                <a:gs pos="0">
                  <a:schemeClr val="bg1"/>
                </a:gs>
                <a:gs pos="100000">
                  <a:srgbClr val="C7B1D7"/>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67" name="Hexagon 66">
            <a:extLst>
              <a:ext uri="{FF2B5EF4-FFF2-40B4-BE49-F238E27FC236}">
                <a16:creationId xmlns:a16="http://schemas.microsoft.com/office/drawing/2014/main" id="{BCC2ACB3-F9F7-4035-8E8B-76AA83F7CC1F}"/>
              </a:ext>
            </a:extLst>
          </p:cNvPr>
          <p:cNvSpPr/>
          <p:nvPr/>
        </p:nvSpPr>
        <p:spPr>
          <a:xfrm>
            <a:off x="5037717" y="2625946"/>
            <a:ext cx="2158240" cy="1889063"/>
          </a:xfrm>
          <a:prstGeom prst="hexagon">
            <a:avLst>
              <a:gd name="adj" fmla="val 29897"/>
              <a:gd name="vf" fmla="val 115470"/>
            </a:avLst>
          </a:prstGeom>
          <a:solidFill>
            <a:srgbClr val="652D9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68" name="Hexagon 67">
            <a:extLst>
              <a:ext uri="{FF2B5EF4-FFF2-40B4-BE49-F238E27FC236}">
                <a16:creationId xmlns:a16="http://schemas.microsoft.com/office/drawing/2014/main" id="{86F318B5-946F-4BAA-8570-C31A92D203A4}"/>
              </a:ext>
            </a:extLst>
          </p:cNvPr>
          <p:cNvSpPr/>
          <p:nvPr/>
        </p:nvSpPr>
        <p:spPr>
          <a:xfrm>
            <a:off x="5148588" y="2991032"/>
            <a:ext cx="1718425" cy="1523978"/>
          </a:xfrm>
          <a:prstGeom prst="hexagon">
            <a:avLst>
              <a:gd name="adj" fmla="val 29897"/>
              <a:gd name="vf" fmla="val 115470"/>
            </a:avLst>
          </a:prstGeom>
          <a:solidFill>
            <a:srgbClr val="491E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70" name="Hexagon 189">
            <a:extLst>
              <a:ext uri="{FF2B5EF4-FFF2-40B4-BE49-F238E27FC236}">
                <a16:creationId xmlns:a16="http://schemas.microsoft.com/office/drawing/2014/main" id="{78D1EFE5-2520-4126-91D5-E8FD9BCA8AC4}"/>
              </a:ext>
            </a:extLst>
          </p:cNvPr>
          <p:cNvSpPr/>
          <p:nvPr/>
        </p:nvSpPr>
        <p:spPr>
          <a:xfrm>
            <a:off x="5655342" y="2723002"/>
            <a:ext cx="1429730" cy="1694955"/>
          </a:xfrm>
          <a:custGeom>
            <a:avLst/>
            <a:gdLst>
              <a:gd name="connsiteX0" fmla="*/ 0 w 1855215"/>
              <a:gd name="connsiteY0" fmla="*/ 811917 h 1623833"/>
              <a:gd name="connsiteX1" fmla="*/ 485477 w 1855215"/>
              <a:gd name="connsiteY1" fmla="*/ 0 h 1623833"/>
              <a:gd name="connsiteX2" fmla="*/ 1369738 w 1855215"/>
              <a:gd name="connsiteY2" fmla="*/ 0 h 1623833"/>
              <a:gd name="connsiteX3" fmla="*/ 1855215 w 1855215"/>
              <a:gd name="connsiteY3" fmla="*/ 811917 h 1623833"/>
              <a:gd name="connsiteX4" fmla="*/ 1369738 w 1855215"/>
              <a:gd name="connsiteY4" fmla="*/ 1623833 h 1623833"/>
              <a:gd name="connsiteX5" fmla="*/ 485477 w 1855215"/>
              <a:gd name="connsiteY5" fmla="*/ 1623833 h 1623833"/>
              <a:gd name="connsiteX6" fmla="*/ 0 w 1855215"/>
              <a:gd name="connsiteY6" fmla="*/ 811917 h 1623833"/>
              <a:gd name="connsiteX0" fmla="*/ 0 w 1369738"/>
              <a:gd name="connsiteY0" fmla="*/ 1623833 h 1623833"/>
              <a:gd name="connsiteX1" fmla="*/ 0 w 1369738"/>
              <a:gd name="connsiteY1" fmla="*/ 0 h 1623833"/>
              <a:gd name="connsiteX2" fmla="*/ 884261 w 1369738"/>
              <a:gd name="connsiteY2" fmla="*/ 0 h 1623833"/>
              <a:gd name="connsiteX3" fmla="*/ 1369738 w 1369738"/>
              <a:gd name="connsiteY3" fmla="*/ 811917 h 1623833"/>
              <a:gd name="connsiteX4" fmla="*/ 884261 w 1369738"/>
              <a:gd name="connsiteY4" fmla="*/ 1623833 h 1623833"/>
              <a:gd name="connsiteX5" fmla="*/ 0 w 1369738"/>
              <a:gd name="connsiteY5" fmla="*/ 1623833 h 1623833"/>
              <a:gd name="connsiteX0" fmla="*/ 0 w 1369738"/>
              <a:gd name="connsiteY0" fmla="*/ 1623833 h 1623833"/>
              <a:gd name="connsiteX1" fmla="*/ 884261 w 1369738"/>
              <a:gd name="connsiteY1" fmla="*/ 0 h 1623833"/>
              <a:gd name="connsiteX2" fmla="*/ 1369738 w 1369738"/>
              <a:gd name="connsiteY2" fmla="*/ 811917 h 1623833"/>
              <a:gd name="connsiteX3" fmla="*/ 884261 w 1369738"/>
              <a:gd name="connsiteY3" fmla="*/ 1623833 h 1623833"/>
              <a:gd name="connsiteX4" fmla="*/ 0 w 1369738"/>
              <a:gd name="connsiteY4" fmla="*/ 1623833 h 1623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9738" h="1623833">
                <a:moveTo>
                  <a:pt x="0" y="1623833"/>
                </a:moveTo>
                <a:lnTo>
                  <a:pt x="884261" y="0"/>
                </a:lnTo>
                <a:lnTo>
                  <a:pt x="1369738" y="811917"/>
                </a:lnTo>
                <a:lnTo>
                  <a:pt x="884261" y="1623833"/>
                </a:lnTo>
                <a:lnTo>
                  <a:pt x="0" y="1623833"/>
                </a:lnTo>
                <a:close/>
              </a:path>
            </a:pathLst>
          </a:custGeom>
          <a:solidFill>
            <a:srgbClr val="C7B1D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84" name="Hexagon 83">
            <a:extLst>
              <a:ext uri="{FF2B5EF4-FFF2-40B4-BE49-F238E27FC236}">
                <a16:creationId xmlns:a16="http://schemas.microsoft.com/office/drawing/2014/main" id="{8093B766-E77A-45FD-8F42-D7FF426E7A4F}"/>
              </a:ext>
            </a:extLst>
          </p:cNvPr>
          <p:cNvSpPr/>
          <p:nvPr/>
        </p:nvSpPr>
        <p:spPr>
          <a:xfrm>
            <a:off x="6820490" y="2004260"/>
            <a:ext cx="1718425" cy="1523977"/>
          </a:xfrm>
          <a:prstGeom prst="hexagon">
            <a:avLst>
              <a:gd name="adj" fmla="val 29897"/>
              <a:gd name="vf" fmla="val 115470"/>
            </a:avLst>
          </a:prstGeom>
          <a:solidFill>
            <a:srgbClr val="491E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88" name="Hexagon 201">
            <a:extLst>
              <a:ext uri="{FF2B5EF4-FFF2-40B4-BE49-F238E27FC236}">
                <a16:creationId xmlns:a16="http://schemas.microsoft.com/office/drawing/2014/main" id="{3947DA13-2647-4371-BA9B-6219D72A3FC4}"/>
              </a:ext>
            </a:extLst>
          </p:cNvPr>
          <p:cNvSpPr/>
          <p:nvPr/>
        </p:nvSpPr>
        <p:spPr>
          <a:xfrm>
            <a:off x="7327244" y="1736231"/>
            <a:ext cx="1429730" cy="1694953"/>
          </a:xfrm>
          <a:custGeom>
            <a:avLst/>
            <a:gdLst>
              <a:gd name="connsiteX0" fmla="*/ 0 w 1855215"/>
              <a:gd name="connsiteY0" fmla="*/ 811917 h 1623833"/>
              <a:gd name="connsiteX1" fmla="*/ 485477 w 1855215"/>
              <a:gd name="connsiteY1" fmla="*/ 0 h 1623833"/>
              <a:gd name="connsiteX2" fmla="*/ 1369738 w 1855215"/>
              <a:gd name="connsiteY2" fmla="*/ 0 h 1623833"/>
              <a:gd name="connsiteX3" fmla="*/ 1855215 w 1855215"/>
              <a:gd name="connsiteY3" fmla="*/ 811917 h 1623833"/>
              <a:gd name="connsiteX4" fmla="*/ 1369738 w 1855215"/>
              <a:gd name="connsiteY4" fmla="*/ 1623833 h 1623833"/>
              <a:gd name="connsiteX5" fmla="*/ 485477 w 1855215"/>
              <a:gd name="connsiteY5" fmla="*/ 1623833 h 1623833"/>
              <a:gd name="connsiteX6" fmla="*/ 0 w 1855215"/>
              <a:gd name="connsiteY6" fmla="*/ 811917 h 1623833"/>
              <a:gd name="connsiteX0" fmla="*/ 0 w 1855215"/>
              <a:gd name="connsiteY0" fmla="*/ 811917 h 1623833"/>
              <a:gd name="connsiteX1" fmla="*/ 1369738 w 1855215"/>
              <a:gd name="connsiteY1" fmla="*/ 0 h 1623833"/>
              <a:gd name="connsiteX2" fmla="*/ 1855215 w 1855215"/>
              <a:gd name="connsiteY2" fmla="*/ 811917 h 1623833"/>
              <a:gd name="connsiteX3" fmla="*/ 1369738 w 1855215"/>
              <a:gd name="connsiteY3" fmla="*/ 1623833 h 1623833"/>
              <a:gd name="connsiteX4" fmla="*/ 485477 w 1855215"/>
              <a:gd name="connsiteY4" fmla="*/ 1623833 h 1623833"/>
              <a:gd name="connsiteX5" fmla="*/ 0 w 1855215"/>
              <a:gd name="connsiteY5" fmla="*/ 811917 h 1623833"/>
              <a:gd name="connsiteX0" fmla="*/ 0 w 1369738"/>
              <a:gd name="connsiteY0" fmla="*/ 1623833 h 1623833"/>
              <a:gd name="connsiteX1" fmla="*/ 884261 w 1369738"/>
              <a:gd name="connsiteY1" fmla="*/ 0 h 1623833"/>
              <a:gd name="connsiteX2" fmla="*/ 1369738 w 1369738"/>
              <a:gd name="connsiteY2" fmla="*/ 811917 h 1623833"/>
              <a:gd name="connsiteX3" fmla="*/ 884261 w 1369738"/>
              <a:gd name="connsiteY3" fmla="*/ 1623833 h 1623833"/>
              <a:gd name="connsiteX4" fmla="*/ 0 w 1369738"/>
              <a:gd name="connsiteY4" fmla="*/ 1623833 h 1623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9738" h="1623833">
                <a:moveTo>
                  <a:pt x="0" y="1623833"/>
                </a:moveTo>
                <a:lnTo>
                  <a:pt x="884261" y="0"/>
                </a:lnTo>
                <a:lnTo>
                  <a:pt x="1369738" y="811917"/>
                </a:lnTo>
                <a:lnTo>
                  <a:pt x="884261" y="1623833"/>
                </a:lnTo>
                <a:lnTo>
                  <a:pt x="0" y="1623833"/>
                </a:lnTo>
                <a:close/>
              </a:path>
            </a:pathLst>
          </a:custGeom>
          <a:solidFill>
            <a:srgbClr val="C7B1D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117" name="Hexagon 116">
            <a:extLst>
              <a:ext uri="{FF2B5EF4-FFF2-40B4-BE49-F238E27FC236}">
                <a16:creationId xmlns:a16="http://schemas.microsoft.com/office/drawing/2014/main" id="{D4931266-92C8-4D17-A38D-15C6C179FC99}"/>
              </a:ext>
            </a:extLst>
          </p:cNvPr>
          <p:cNvSpPr/>
          <p:nvPr/>
        </p:nvSpPr>
        <p:spPr>
          <a:xfrm>
            <a:off x="3458972" y="2004260"/>
            <a:ext cx="1718425" cy="1523977"/>
          </a:xfrm>
          <a:prstGeom prst="hexagon">
            <a:avLst>
              <a:gd name="adj" fmla="val 29897"/>
              <a:gd name="vf" fmla="val 115470"/>
            </a:avLst>
          </a:prstGeom>
          <a:solidFill>
            <a:srgbClr val="491E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133" name="Hexagon 202">
            <a:extLst>
              <a:ext uri="{FF2B5EF4-FFF2-40B4-BE49-F238E27FC236}">
                <a16:creationId xmlns:a16="http://schemas.microsoft.com/office/drawing/2014/main" id="{BFD89DC7-A485-420A-AB8D-67723E6F146B}"/>
              </a:ext>
            </a:extLst>
          </p:cNvPr>
          <p:cNvSpPr/>
          <p:nvPr/>
        </p:nvSpPr>
        <p:spPr>
          <a:xfrm>
            <a:off x="3965726" y="1736231"/>
            <a:ext cx="1429730" cy="1694953"/>
          </a:xfrm>
          <a:custGeom>
            <a:avLst/>
            <a:gdLst>
              <a:gd name="connsiteX0" fmla="*/ 0 w 1855215"/>
              <a:gd name="connsiteY0" fmla="*/ 811917 h 1623833"/>
              <a:gd name="connsiteX1" fmla="*/ 485477 w 1855215"/>
              <a:gd name="connsiteY1" fmla="*/ 0 h 1623833"/>
              <a:gd name="connsiteX2" fmla="*/ 1369738 w 1855215"/>
              <a:gd name="connsiteY2" fmla="*/ 0 h 1623833"/>
              <a:gd name="connsiteX3" fmla="*/ 1855215 w 1855215"/>
              <a:gd name="connsiteY3" fmla="*/ 811917 h 1623833"/>
              <a:gd name="connsiteX4" fmla="*/ 1369738 w 1855215"/>
              <a:gd name="connsiteY4" fmla="*/ 1623833 h 1623833"/>
              <a:gd name="connsiteX5" fmla="*/ 485477 w 1855215"/>
              <a:gd name="connsiteY5" fmla="*/ 1623833 h 1623833"/>
              <a:gd name="connsiteX6" fmla="*/ 0 w 1855215"/>
              <a:gd name="connsiteY6" fmla="*/ 811917 h 1623833"/>
              <a:gd name="connsiteX0" fmla="*/ 0 w 1855215"/>
              <a:gd name="connsiteY0" fmla="*/ 811917 h 1623833"/>
              <a:gd name="connsiteX1" fmla="*/ 1369738 w 1855215"/>
              <a:gd name="connsiteY1" fmla="*/ 0 h 1623833"/>
              <a:gd name="connsiteX2" fmla="*/ 1855215 w 1855215"/>
              <a:gd name="connsiteY2" fmla="*/ 811917 h 1623833"/>
              <a:gd name="connsiteX3" fmla="*/ 1369738 w 1855215"/>
              <a:gd name="connsiteY3" fmla="*/ 1623833 h 1623833"/>
              <a:gd name="connsiteX4" fmla="*/ 485477 w 1855215"/>
              <a:gd name="connsiteY4" fmla="*/ 1623833 h 1623833"/>
              <a:gd name="connsiteX5" fmla="*/ 0 w 1855215"/>
              <a:gd name="connsiteY5" fmla="*/ 811917 h 1623833"/>
              <a:gd name="connsiteX0" fmla="*/ 0 w 1369738"/>
              <a:gd name="connsiteY0" fmla="*/ 1623833 h 1623833"/>
              <a:gd name="connsiteX1" fmla="*/ 884261 w 1369738"/>
              <a:gd name="connsiteY1" fmla="*/ 0 h 1623833"/>
              <a:gd name="connsiteX2" fmla="*/ 1369738 w 1369738"/>
              <a:gd name="connsiteY2" fmla="*/ 811917 h 1623833"/>
              <a:gd name="connsiteX3" fmla="*/ 884261 w 1369738"/>
              <a:gd name="connsiteY3" fmla="*/ 1623833 h 1623833"/>
              <a:gd name="connsiteX4" fmla="*/ 0 w 1369738"/>
              <a:gd name="connsiteY4" fmla="*/ 1623833 h 1623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9738" h="1623833">
                <a:moveTo>
                  <a:pt x="0" y="1623833"/>
                </a:moveTo>
                <a:lnTo>
                  <a:pt x="884261" y="0"/>
                </a:lnTo>
                <a:lnTo>
                  <a:pt x="1369738" y="811917"/>
                </a:lnTo>
                <a:lnTo>
                  <a:pt x="884261" y="1623833"/>
                </a:lnTo>
                <a:lnTo>
                  <a:pt x="0" y="1623833"/>
                </a:lnTo>
                <a:close/>
              </a:path>
            </a:pathLst>
          </a:custGeom>
          <a:solidFill>
            <a:srgbClr val="C7B1D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140" name="Hexagon 139">
            <a:extLst>
              <a:ext uri="{FF2B5EF4-FFF2-40B4-BE49-F238E27FC236}">
                <a16:creationId xmlns:a16="http://schemas.microsoft.com/office/drawing/2014/main" id="{6B994233-8270-424B-9542-3AA5F4ABD6EB}"/>
              </a:ext>
            </a:extLst>
          </p:cNvPr>
          <p:cNvSpPr/>
          <p:nvPr/>
        </p:nvSpPr>
        <p:spPr>
          <a:xfrm>
            <a:off x="3309157" y="3623106"/>
            <a:ext cx="2208870" cy="1871129"/>
          </a:xfrm>
          <a:prstGeom prst="hexagon">
            <a:avLst>
              <a:gd name="adj" fmla="val 29897"/>
              <a:gd name="vf" fmla="val 115470"/>
            </a:avLst>
          </a:prstGeom>
          <a:noFill/>
          <a:ln>
            <a:gradFill flip="none" rotWithShape="1">
              <a:gsLst>
                <a:gs pos="0">
                  <a:schemeClr val="bg1"/>
                </a:gs>
                <a:gs pos="100000">
                  <a:srgbClr val="C7B1D7"/>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142" name="Freeform: Shape 141">
            <a:extLst>
              <a:ext uri="{FF2B5EF4-FFF2-40B4-BE49-F238E27FC236}">
                <a16:creationId xmlns:a16="http://schemas.microsoft.com/office/drawing/2014/main" id="{1CADEE00-7C6C-49A9-B0C1-6CA5B0B58838}"/>
              </a:ext>
            </a:extLst>
          </p:cNvPr>
          <p:cNvSpPr/>
          <p:nvPr/>
        </p:nvSpPr>
        <p:spPr>
          <a:xfrm>
            <a:off x="5070471" y="4597107"/>
            <a:ext cx="2147851" cy="1277167"/>
          </a:xfrm>
          <a:custGeom>
            <a:avLst/>
            <a:gdLst>
              <a:gd name="connsiteX0" fmla="*/ 654746 w 2502066"/>
              <a:gd name="connsiteY0" fmla="*/ 0 h 1478819"/>
              <a:gd name="connsiteX1" fmla="*/ 1847320 w 2502066"/>
              <a:gd name="connsiteY1" fmla="*/ 0 h 1478819"/>
              <a:gd name="connsiteX2" fmla="*/ 2502066 w 2502066"/>
              <a:gd name="connsiteY2" fmla="*/ 1095003 h 1478819"/>
              <a:gd name="connsiteX3" fmla="*/ 2272567 w 2502066"/>
              <a:gd name="connsiteY3" fmla="*/ 1478819 h 1478819"/>
              <a:gd name="connsiteX4" fmla="*/ 229499 w 2502066"/>
              <a:gd name="connsiteY4" fmla="*/ 1478819 h 1478819"/>
              <a:gd name="connsiteX5" fmla="*/ 0 w 2502066"/>
              <a:gd name="connsiteY5" fmla="*/ 1095003 h 1478819"/>
              <a:gd name="connsiteX0" fmla="*/ 654746 w 2502066"/>
              <a:gd name="connsiteY0" fmla="*/ 0 h 1478819"/>
              <a:gd name="connsiteX1" fmla="*/ 1847320 w 2502066"/>
              <a:gd name="connsiteY1" fmla="*/ 0 h 1478819"/>
              <a:gd name="connsiteX2" fmla="*/ 2502066 w 2502066"/>
              <a:gd name="connsiteY2" fmla="*/ 1095003 h 1478819"/>
              <a:gd name="connsiteX3" fmla="*/ 2272567 w 2502066"/>
              <a:gd name="connsiteY3" fmla="*/ 1478819 h 1478819"/>
              <a:gd name="connsiteX4" fmla="*/ 1464554 w 2502066"/>
              <a:gd name="connsiteY4" fmla="*/ 1478819 h 1478819"/>
              <a:gd name="connsiteX5" fmla="*/ 229499 w 2502066"/>
              <a:gd name="connsiteY5" fmla="*/ 1478819 h 1478819"/>
              <a:gd name="connsiteX6" fmla="*/ 0 w 2502066"/>
              <a:gd name="connsiteY6" fmla="*/ 1095003 h 1478819"/>
              <a:gd name="connsiteX7" fmla="*/ 654746 w 2502066"/>
              <a:gd name="connsiteY7" fmla="*/ 0 h 1478819"/>
              <a:gd name="connsiteX0" fmla="*/ 1464554 w 2502066"/>
              <a:gd name="connsiteY0" fmla="*/ 1478819 h 1570259"/>
              <a:gd name="connsiteX1" fmla="*/ 229499 w 2502066"/>
              <a:gd name="connsiteY1" fmla="*/ 1478819 h 1570259"/>
              <a:gd name="connsiteX2" fmla="*/ 0 w 2502066"/>
              <a:gd name="connsiteY2" fmla="*/ 1095003 h 1570259"/>
              <a:gd name="connsiteX3" fmla="*/ 654746 w 2502066"/>
              <a:gd name="connsiteY3" fmla="*/ 0 h 1570259"/>
              <a:gd name="connsiteX4" fmla="*/ 1847320 w 2502066"/>
              <a:gd name="connsiteY4" fmla="*/ 0 h 1570259"/>
              <a:gd name="connsiteX5" fmla="*/ 2502066 w 2502066"/>
              <a:gd name="connsiteY5" fmla="*/ 1095003 h 1570259"/>
              <a:gd name="connsiteX6" fmla="*/ 2272567 w 2502066"/>
              <a:gd name="connsiteY6" fmla="*/ 1478819 h 1570259"/>
              <a:gd name="connsiteX7" fmla="*/ 1555994 w 2502066"/>
              <a:gd name="connsiteY7" fmla="*/ 1570259 h 1570259"/>
              <a:gd name="connsiteX0" fmla="*/ 1464554 w 2502066"/>
              <a:gd name="connsiteY0" fmla="*/ 1478819 h 1478819"/>
              <a:gd name="connsiteX1" fmla="*/ 229499 w 2502066"/>
              <a:gd name="connsiteY1" fmla="*/ 1478819 h 1478819"/>
              <a:gd name="connsiteX2" fmla="*/ 0 w 2502066"/>
              <a:gd name="connsiteY2" fmla="*/ 1095003 h 1478819"/>
              <a:gd name="connsiteX3" fmla="*/ 654746 w 2502066"/>
              <a:gd name="connsiteY3" fmla="*/ 0 h 1478819"/>
              <a:gd name="connsiteX4" fmla="*/ 1847320 w 2502066"/>
              <a:gd name="connsiteY4" fmla="*/ 0 h 1478819"/>
              <a:gd name="connsiteX5" fmla="*/ 2502066 w 2502066"/>
              <a:gd name="connsiteY5" fmla="*/ 1095003 h 1478819"/>
              <a:gd name="connsiteX6" fmla="*/ 2272567 w 2502066"/>
              <a:gd name="connsiteY6" fmla="*/ 1478819 h 1478819"/>
              <a:gd name="connsiteX0" fmla="*/ 229499 w 2502066"/>
              <a:gd name="connsiteY0" fmla="*/ 1478819 h 1478819"/>
              <a:gd name="connsiteX1" fmla="*/ 0 w 2502066"/>
              <a:gd name="connsiteY1" fmla="*/ 1095003 h 1478819"/>
              <a:gd name="connsiteX2" fmla="*/ 654746 w 2502066"/>
              <a:gd name="connsiteY2" fmla="*/ 0 h 1478819"/>
              <a:gd name="connsiteX3" fmla="*/ 1847320 w 2502066"/>
              <a:gd name="connsiteY3" fmla="*/ 0 h 1478819"/>
              <a:gd name="connsiteX4" fmla="*/ 2502066 w 2502066"/>
              <a:gd name="connsiteY4" fmla="*/ 1095003 h 1478819"/>
              <a:gd name="connsiteX5" fmla="*/ 2272567 w 2502066"/>
              <a:gd name="connsiteY5" fmla="*/ 1478819 h 1478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02066" h="1478819">
                <a:moveTo>
                  <a:pt x="229499" y="1478819"/>
                </a:moveTo>
                <a:lnTo>
                  <a:pt x="0" y="1095003"/>
                </a:lnTo>
                <a:lnTo>
                  <a:pt x="654746" y="0"/>
                </a:lnTo>
                <a:lnTo>
                  <a:pt x="1847320" y="0"/>
                </a:lnTo>
                <a:lnTo>
                  <a:pt x="2502066" y="1095003"/>
                </a:lnTo>
                <a:lnTo>
                  <a:pt x="2272567" y="1478819"/>
                </a:lnTo>
              </a:path>
            </a:pathLst>
          </a:custGeom>
          <a:noFill/>
          <a:ln>
            <a:gradFill flip="none" rotWithShape="1">
              <a:gsLst>
                <a:gs pos="0">
                  <a:schemeClr val="bg1"/>
                </a:gs>
                <a:gs pos="100000">
                  <a:srgbClr val="C7B1D7"/>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145" name="Hexagon 144">
            <a:extLst>
              <a:ext uri="{FF2B5EF4-FFF2-40B4-BE49-F238E27FC236}">
                <a16:creationId xmlns:a16="http://schemas.microsoft.com/office/drawing/2014/main" id="{F08A91FF-7861-4225-8699-4B8D98D5EC23}"/>
              </a:ext>
            </a:extLst>
          </p:cNvPr>
          <p:cNvSpPr/>
          <p:nvPr/>
        </p:nvSpPr>
        <p:spPr>
          <a:xfrm>
            <a:off x="6715859" y="3624219"/>
            <a:ext cx="2163878" cy="1904908"/>
          </a:xfrm>
          <a:prstGeom prst="hexagon">
            <a:avLst>
              <a:gd name="adj" fmla="val 29400"/>
              <a:gd name="vf" fmla="val 115470"/>
            </a:avLst>
          </a:prstGeom>
          <a:noFill/>
          <a:ln>
            <a:gradFill flip="none" rotWithShape="1">
              <a:gsLst>
                <a:gs pos="0">
                  <a:schemeClr val="bg1"/>
                </a:gs>
                <a:gs pos="100000">
                  <a:srgbClr val="C7B1D7"/>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148" name="Freeform: Shape 147">
            <a:extLst>
              <a:ext uri="{FF2B5EF4-FFF2-40B4-BE49-F238E27FC236}">
                <a16:creationId xmlns:a16="http://schemas.microsoft.com/office/drawing/2014/main" id="{AC1D35F5-E22E-4A6E-B99E-2C1232CFFD6F}"/>
              </a:ext>
            </a:extLst>
          </p:cNvPr>
          <p:cNvSpPr/>
          <p:nvPr/>
        </p:nvSpPr>
        <p:spPr>
          <a:xfrm>
            <a:off x="10078897" y="1627518"/>
            <a:ext cx="849236" cy="1930168"/>
          </a:xfrm>
          <a:custGeom>
            <a:avLst/>
            <a:gdLst>
              <a:gd name="connsiteX0" fmla="*/ 576052 w 842775"/>
              <a:gd name="connsiteY0" fmla="*/ 0 h 1926790"/>
              <a:gd name="connsiteX1" fmla="*/ 842775 w 842775"/>
              <a:gd name="connsiteY1" fmla="*/ 0 h 1926790"/>
              <a:gd name="connsiteX2" fmla="*/ 842775 w 842775"/>
              <a:gd name="connsiteY2" fmla="*/ 1926790 h 1926790"/>
              <a:gd name="connsiteX3" fmla="*/ 576052 w 842775"/>
              <a:gd name="connsiteY3" fmla="*/ 1926790 h 1926790"/>
              <a:gd name="connsiteX4" fmla="*/ 0 w 842775"/>
              <a:gd name="connsiteY4" fmla="*/ 963395 h 1926790"/>
              <a:gd name="connsiteX0" fmla="*/ 576052 w 842775"/>
              <a:gd name="connsiteY0" fmla="*/ 0 h 1926790"/>
              <a:gd name="connsiteX1" fmla="*/ 842775 w 842775"/>
              <a:gd name="connsiteY1" fmla="*/ 0 h 1926790"/>
              <a:gd name="connsiteX2" fmla="*/ 842774 w 842775"/>
              <a:gd name="connsiteY2" fmla="*/ 1026083 h 1926790"/>
              <a:gd name="connsiteX3" fmla="*/ 842775 w 842775"/>
              <a:gd name="connsiteY3" fmla="*/ 1926790 h 1926790"/>
              <a:gd name="connsiteX4" fmla="*/ 576052 w 842775"/>
              <a:gd name="connsiteY4" fmla="*/ 1926790 h 1926790"/>
              <a:gd name="connsiteX5" fmla="*/ 0 w 842775"/>
              <a:gd name="connsiteY5" fmla="*/ 963395 h 1926790"/>
              <a:gd name="connsiteX6" fmla="*/ 576052 w 842775"/>
              <a:gd name="connsiteY6" fmla="*/ 0 h 1926790"/>
              <a:gd name="connsiteX0" fmla="*/ 842774 w 934214"/>
              <a:gd name="connsiteY0" fmla="*/ 1026083 h 1926790"/>
              <a:gd name="connsiteX1" fmla="*/ 842775 w 934214"/>
              <a:gd name="connsiteY1" fmla="*/ 1926790 h 1926790"/>
              <a:gd name="connsiteX2" fmla="*/ 576052 w 934214"/>
              <a:gd name="connsiteY2" fmla="*/ 1926790 h 1926790"/>
              <a:gd name="connsiteX3" fmla="*/ 0 w 934214"/>
              <a:gd name="connsiteY3" fmla="*/ 963395 h 1926790"/>
              <a:gd name="connsiteX4" fmla="*/ 576052 w 934214"/>
              <a:gd name="connsiteY4" fmla="*/ 0 h 1926790"/>
              <a:gd name="connsiteX5" fmla="*/ 842775 w 934214"/>
              <a:gd name="connsiteY5" fmla="*/ 0 h 1926790"/>
              <a:gd name="connsiteX6" fmla="*/ 934214 w 934214"/>
              <a:gd name="connsiteY6" fmla="*/ 1117523 h 1926790"/>
              <a:gd name="connsiteX0" fmla="*/ 842774 w 842775"/>
              <a:gd name="connsiteY0" fmla="*/ 1026083 h 1926790"/>
              <a:gd name="connsiteX1" fmla="*/ 842775 w 842775"/>
              <a:gd name="connsiteY1" fmla="*/ 1926790 h 1926790"/>
              <a:gd name="connsiteX2" fmla="*/ 576052 w 842775"/>
              <a:gd name="connsiteY2" fmla="*/ 1926790 h 1926790"/>
              <a:gd name="connsiteX3" fmla="*/ 0 w 842775"/>
              <a:gd name="connsiteY3" fmla="*/ 963395 h 1926790"/>
              <a:gd name="connsiteX4" fmla="*/ 576052 w 842775"/>
              <a:gd name="connsiteY4" fmla="*/ 0 h 1926790"/>
              <a:gd name="connsiteX5" fmla="*/ 842775 w 842775"/>
              <a:gd name="connsiteY5" fmla="*/ 0 h 1926790"/>
              <a:gd name="connsiteX0" fmla="*/ 842775 w 842775"/>
              <a:gd name="connsiteY0" fmla="*/ 1926790 h 1926790"/>
              <a:gd name="connsiteX1" fmla="*/ 576052 w 842775"/>
              <a:gd name="connsiteY1" fmla="*/ 1926790 h 1926790"/>
              <a:gd name="connsiteX2" fmla="*/ 0 w 842775"/>
              <a:gd name="connsiteY2" fmla="*/ 963395 h 1926790"/>
              <a:gd name="connsiteX3" fmla="*/ 576052 w 842775"/>
              <a:gd name="connsiteY3" fmla="*/ 0 h 1926790"/>
              <a:gd name="connsiteX4" fmla="*/ 842775 w 842775"/>
              <a:gd name="connsiteY4" fmla="*/ 0 h 1926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75" h="1926790">
                <a:moveTo>
                  <a:pt x="842775" y="1926790"/>
                </a:moveTo>
                <a:lnTo>
                  <a:pt x="576052" y="1926790"/>
                </a:lnTo>
                <a:lnTo>
                  <a:pt x="0" y="963395"/>
                </a:lnTo>
                <a:lnTo>
                  <a:pt x="576052" y="0"/>
                </a:lnTo>
                <a:lnTo>
                  <a:pt x="842775" y="0"/>
                </a:lnTo>
              </a:path>
            </a:pathLst>
          </a:custGeom>
          <a:noFill/>
          <a:ln>
            <a:gradFill flip="none" rotWithShape="1">
              <a:gsLst>
                <a:gs pos="0">
                  <a:schemeClr val="bg1"/>
                </a:gs>
                <a:gs pos="100000">
                  <a:srgbClr val="C7B1D7"/>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150" name="Hexagon 116">
            <a:extLst>
              <a:ext uri="{FF2B5EF4-FFF2-40B4-BE49-F238E27FC236}">
                <a16:creationId xmlns:a16="http://schemas.microsoft.com/office/drawing/2014/main" id="{9D57D89D-8B03-43BA-9AF5-3AD5E0F98D0F}"/>
              </a:ext>
            </a:extLst>
          </p:cNvPr>
          <p:cNvSpPr/>
          <p:nvPr/>
        </p:nvSpPr>
        <p:spPr>
          <a:xfrm>
            <a:off x="8414899" y="2659786"/>
            <a:ext cx="2145043" cy="1879970"/>
          </a:xfrm>
          <a:custGeom>
            <a:avLst/>
            <a:gdLst>
              <a:gd name="connsiteX0" fmla="*/ 0 w 2147851"/>
              <a:gd name="connsiteY0" fmla="*/ 939985 h 1879970"/>
              <a:gd name="connsiteX1" fmla="*/ 562055 w 2147851"/>
              <a:gd name="connsiteY1" fmla="*/ 0 h 1879970"/>
              <a:gd name="connsiteX2" fmla="*/ 1585796 w 2147851"/>
              <a:gd name="connsiteY2" fmla="*/ 0 h 1879970"/>
              <a:gd name="connsiteX3" fmla="*/ 2147851 w 2147851"/>
              <a:gd name="connsiteY3" fmla="*/ 939985 h 1879970"/>
              <a:gd name="connsiteX4" fmla="*/ 1585796 w 2147851"/>
              <a:gd name="connsiteY4" fmla="*/ 1879970 h 1879970"/>
              <a:gd name="connsiteX5" fmla="*/ 562055 w 2147851"/>
              <a:gd name="connsiteY5" fmla="*/ 1879970 h 1879970"/>
              <a:gd name="connsiteX6" fmla="*/ 0 w 2147851"/>
              <a:gd name="connsiteY6" fmla="*/ 939985 h 1879970"/>
              <a:gd name="connsiteX0" fmla="*/ 562055 w 2147851"/>
              <a:gd name="connsiteY0" fmla="*/ 0 h 1879970"/>
              <a:gd name="connsiteX1" fmla="*/ 1585796 w 2147851"/>
              <a:gd name="connsiteY1" fmla="*/ 0 h 1879970"/>
              <a:gd name="connsiteX2" fmla="*/ 2147851 w 2147851"/>
              <a:gd name="connsiteY2" fmla="*/ 939985 h 1879970"/>
              <a:gd name="connsiteX3" fmla="*/ 1585796 w 2147851"/>
              <a:gd name="connsiteY3" fmla="*/ 1879970 h 1879970"/>
              <a:gd name="connsiteX4" fmla="*/ 562055 w 2147851"/>
              <a:gd name="connsiteY4" fmla="*/ 1879970 h 1879970"/>
              <a:gd name="connsiteX5" fmla="*/ 0 w 2147851"/>
              <a:gd name="connsiteY5" fmla="*/ 939985 h 1879970"/>
              <a:gd name="connsiteX6" fmla="*/ 653495 w 2147851"/>
              <a:gd name="connsiteY6" fmla="*/ 91440 h 1879970"/>
              <a:gd name="connsiteX0" fmla="*/ 562055 w 2147851"/>
              <a:gd name="connsiteY0" fmla="*/ 0 h 1879970"/>
              <a:gd name="connsiteX1" fmla="*/ 1585796 w 2147851"/>
              <a:gd name="connsiteY1" fmla="*/ 0 h 1879970"/>
              <a:gd name="connsiteX2" fmla="*/ 2147851 w 2147851"/>
              <a:gd name="connsiteY2" fmla="*/ 939985 h 1879970"/>
              <a:gd name="connsiteX3" fmla="*/ 1585796 w 2147851"/>
              <a:gd name="connsiteY3" fmla="*/ 1879970 h 1879970"/>
              <a:gd name="connsiteX4" fmla="*/ 562055 w 2147851"/>
              <a:gd name="connsiteY4" fmla="*/ 1879970 h 1879970"/>
              <a:gd name="connsiteX5" fmla="*/ 0 w 2147851"/>
              <a:gd name="connsiteY5" fmla="*/ 939985 h 1879970"/>
              <a:gd name="connsiteX0" fmla="*/ 1585796 w 2147851"/>
              <a:gd name="connsiteY0" fmla="*/ 0 h 1879970"/>
              <a:gd name="connsiteX1" fmla="*/ 2147851 w 2147851"/>
              <a:gd name="connsiteY1" fmla="*/ 939985 h 1879970"/>
              <a:gd name="connsiteX2" fmla="*/ 1585796 w 2147851"/>
              <a:gd name="connsiteY2" fmla="*/ 1879970 h 1879970"/>
              <a:gd name="connsiteX3" fmla="*/ 562055 w 2147851"/>
              <a:gd name="connsiteY3" fmla="*/ 1879970 h 1879970"/>
              <a:gd name="connsiteX4" fmla="*/ 0 w 2147851"/>
              <a:gd name="connsiteY4" fmla="*/ 939985 h 1879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7851" h="1879970">
                <a:moveTo>
                  <a:pt x="1585796" y="0"/>
                </a:moveTo>
                <a:lnTo>
                  <a:pt x="2147851" y="939985"/>
                </a:lnTo>
                <a:lnTo>
                  <a:pt x="1585796" y="1879970"/>
                </a:lnTo>
                <a:lnTo>
                  <a:pt x="562055" y="1879970"/>
                </a:lnTo>
                <a:lnTo>
                  <a:pt x="0" y="939985"/>
                </a:lnTo>
              </a:path>
            </a:pathLst>
          </a:custGeom>
          <a:noFill/>
          <a:ln>
            <a:gradFill flip="none" rotWithShape="1">
              <a:gsLst>
                <a:gs pos="0">
                  <a:schemeClr val="bg1"/>
                </a:gs>
                <a:gs pos="100000">
                  <a:srgbClr val="C7B1D7"/>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151" name="Freeform: Shape 150">
            <a:extLst>
              <a:ext uri="{FF2B5EF4-FFF2-40B4-BE49-F238E27FC236}">
                <a16:creationId xmlns:a16="http://schemas.microsoft.com/office/drawing/2014/main" id="{B1ACE1FD-53EB-4756-9485-1466F553D5FE}"/>
              </a:ext>
            </a:extLst>
          </p:cNvPr>
          <p:cNvSpPr/>
          <p:nvPr/>
        </p:nvSpPr>
        <p:spPr>
          <a:xfrm>
            <a:off x="10080560" y="3634378"/>
            <a:ext cx="839006" cy="1898806"/>
          </a:xfrm>
          <a:custGeom>
            <a:avLst/>
            <a:gdLst>
              <a:gd name="connsiteX0" fmla="*/ 576052 w 842775"/>
              <a:gd name="connsiteY0" fmla="*/ 0 h 1926790"/>
              <a:gd name="connsiteX1" fmla="*/ 842775 w 842775"/>
              <a:gd name="connsiteY1" fmla="*/ 0 h 1926790"/>
              <a:gd name="connsiteX2" fmla="*/ 842775 w 842775"/>
              <a:gd name="connsiteY2" fmla="*/ 1926790 h 1926790"/>
              <a:gd name="connsiteX3" fmla="*/ 576052 w 842775"/>
              <a:gd name="connsiteY3" fmla="*/ 1926790 h 1926790"/>
              <a:gd name="connsiteX4" fmla="*/ 0 w 842775"/>
              <a:gd name="connsiteY4" fmla="*/ 963395 h 1926790"/>
              <a:gd name="connsiteX0" fmla="*/ 576052 w 842775"/>
              <a:gd name="connsiteY0" fmla="*/ 0 h 1926790"/>
              <a:gd name="connsiteX1" fmla="*/ 842775 w 842775"/>
              <a:gd name="connsiteY1" fmla="*/ 0 h 1926790"/>
              <a:gd name="connsiteX2" fmla="*/ 842774 w 842775"/>
              <a:gd name="connsiteY2" fmla="*/ 1026083 h 1926790"/>
              <a:gd name="connsiteX3" fmla="*/ 842775 w 842775"/>
              <a:gd name="connsiteY3" fmla="*/ 1926790 h 1926790"/>
              <a:gd name="connsiteX4" fmla="*/ 576052 w 842775"/>
              <a:gd name="connsiteY4" fmla="*/ 1926790 h 1926790"/>
              <a:gd name="connsiteX5" fmla="*/ 0 w 842775"/>
              <a:gd name="connsiteY5" fmla="*/ 963395 h 1926790"/>
              <a:gd name="connsiteX6" fmla="*/ 576052 w 842775"/>
              <a:gd name="connsiteY6" fmla="*/ 0 h 1926790"/>
              <a:gd name="connsiteX0" fmla="*/ 842774 w 934214"/>
              <a:gd name="connsiteY0" fmla="*/ 1026083 h 1926790"/>
              <a:gd name="connsiteX1" fmla="*/ 842775 w 934214"/>
              <a:gd name="connsiteY1" fmla="*/ 1926790 h 1926790"/>
              <a:gd name="connsiteX2" fmla="*/ 576052 w 934214"/>
              <a:gd name="connsiteY2" fmla="*/ 1926790 h 1926790"/>
              <a:gd name="connsiteX3" fmla="*/ 0 w 934214"/>
              <a:gd name="connsiteY3" fmla="*/ 963395 h 1926790"/>
              <a:gd name="connsiteX4" fmla="*/ 576052 w 934214"/>
              <a:gd name="connsiteY4" fmla="*/ 0 h 1926790"/>
              <a:gd name="connsiteX5" fmla="*/ 842775 w 934214"/>
              <a:gd name="connsiteY5" fmla="*/ 0 h 1926790"/>
              <a:gd name="connsiteX6" fmla="*/ 934214 w 934214"/>
              <a:gd name="connsiteY6" fmla="*/ 1117523 h 1926790"/>
              <a:gd name="connsiteX0" fmla="*/ 842774 w 842775"/>
              <a:gd name="connsiteY0" fmla="*/ 1026083 h 1926790"/>
              <a:gd name="connsiteX1" fmla="*/ 842775 w 842775"/>
              <a:gd name="connsiteY1" fmla="*/ 1926790 h 1926790"/>
              <a:gd name="connsiteX2" fmla="*/ 576052 w 842775"/>
              <a:gd name="connsiteY2" fmla="*/ 1926790 h 1926790"/>
              <a:gd name="connsiteX3" fmla="*/ 0 w 842775"/>
              <a:gd name="connsiteY3" fmla="*/ 963395 h 1926790"/>
              <a:gd name="connsiteX4" fmla="*/ 576052 w 842775"/>
              <a:gd name="connsiteY4" fmla="*/ 0 h 1926790"/>
              <a:gd name="connsiteX5" fmla="*/ 842775 w 842775"/>
              <a:gd name="connsiteY5" fmla="*/ 0 h 1926790"/>
              <a:gd name="connsiteX0" fmla="*/ 842775 w 842775"/>
              <a:gd name="connsiteY0" fmla="*/ 1926790 h 1926790"/>
              <a:gd name="connsiteX1" fmla="*/ 576052 w 842775"/>
              <a:gd name="connsiteY1" fmla="*/ 1926790 h 1926790"/>
              <a:gd name="connsiteX2" fmla="*/ 0 w 842775"/>
              <a:gd name="connsiteY2" fmla="*/ 963395 h 1926790"/>
              <a:gd name="connsiteX3" fmla="*/ 576052 w 842775"/>
              <a:gd name="connsiteY3" fmla="*/ 0 h 1926790"/>
              <a:gd name="connsiteX4" fmla="*/ 842775 w 842775"/>
              <a:gd name="connsiteY4" fmla="*/ 0 h 1926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75" h="1926790">
                <a:moveTo>
                  <a:pt x="842775" y="1926790"/>
                </a:moveTo>
                <a:lnTo>
                  <a:pt x="576052" y="1926790"/>
                </a:lnTo>
                <a:lnTo>
                  <a:pt x="0" y="963395"/>
                </a:lnTo>
                <a:lnTo>
                  <a:pt x="576052" y="0"/>
                </a:lnTo>
                <a:lnTo>
                  <a:pt x="842775" y="0"/>
                </a:lnTo>
              </a:path>
            </a:pathLst>
          </a:custGeom>
          <a:noFill/>
          <a:ln>
            <a:gradFill flip="none" rotWithShape="1">
              <a:gsLst>
                <a:gs pos="0">
                  <a:schemeClr val="bg1"/>
                </a:gs>
                <a:gs pos="100000">
                  <a:srgbClr val="C7B1D7"/>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152" name="Freeform: Shape 151">
            <a:extLst>
              <a:ext uri="{FF2B5EF4-FFF2-40B4-BE49-F238E27FC236}">
                <a16:creationId xmlns:a16="http://schemas.microsoft.com/office/drawing/2014/main" id="{A0996E93-A208-4BB5-B307-B254C7AD3C64}"/>
              </a:ext>
            </a:extLst>
          </p:cNvPr>
          <p:cNvSpPr/>
          <p:nvPr/>
        </p:nvSpPr>
        <p:spPr>
          <a:xfrm flipH="1">
            <a:off x="1252822" y="1596540"/>
            <a:ext cx="833433" cy="1886462"/>
          </a:xfrm>
          <a:custGeom>
            <a:avLst/>
            <a:gdLst>
              <a:gd name="connsiteX0" fmla="*/ 576052 w 842775"/>
              <a:gd name="connsiteY0" fmla="*/ 0 h 1926790"/>
              <a:gd name="connsiteX1" fmla="*/ 842775 w 842775"/>
              <a:gd name="connsiteY1" fmla="*/ 0 h 1926790"/>
              <a:gd name="connsiteX2" fmla="*/ 842775 w 842775"/>
              <a:gd name="connsiteY2" fmla="*/ 1926790 h 1926790"/>
              <a:gd name="connsiteX3" fmla="*/ 576052 w 842775"/>
              <a:gd name="connsiteY3" fmla="*/ 1926790 h 1926790"/>
              <a:gd name="connsiteX4" fmla="*/ 0 w 842775"/>
              <a:gd name="connsiteY4" fmla="*/ 963395 h 1926790"/>
              <a:gd name="connsiteX0" fmla="*/ 576052 w 842775"/>
              <a:gd name="connsiteY0" fmla="*/ 0 h 1926790"/>
              <a:gd name="connsiteX1" fmla="*/ 842775 w 842775"/>
              <a:gd name="connsiteY1" fmla="*/ 0 h 1926790"/>
              <a:gd name="connsiteX2" fmla="*/ 842774 w 842775"/>
              <a:gd name="connsiteY2" fmla="*/ 1026083 h 1926790"/>
              <a:gd name="connsiteX3" fmla="*/ 842775 w 842775"/>
              <a:gd name="connsiteY3" fmla="*/ 1926790 h 1926790"/>
              <a:gd name="connsiteX4" fmla="*/ 576052 w 842775"/>
              <a:gd name="connsiteY4" fmla="*/ 1926790 h 1926790"/>
              <a:gd name="connsiteX5" fmla="*/ 0 w 842775"/>
              <a:gd name="connsiteY5" fmla="*/ 963395 h 1926790"/>
              <a:gd name="connsiteX6" fmla="*/ 576052 w 842775"/>
              <a:gd name="connsiteY6" fmla="*/ 0 h 1926790"/>
              <a:gd name="connsiteX0" fmla="*/ 842774 w 934214"/>
              <a:gd name="connsiteY0" fmla="*/ 1026083 h 1926790"/>
              <a:gd name="connsiteX1" fmla="*/ 842775 w 934214"/>
              <a:gd name="connsiteY1" fmla="*/ 1926790 h 1926790"/>
              <a:gd name="connsiteX2" fmla="*/ 576052 w 934214"/>
              <a:gd name="connsiteY2" fmla="*/ 1926790 h 1926790"/>
              <a:gd name="connsiteX3" fmla="*/ 0 w 934214"/>
              <a:gd name="connsiteY3" fmla="*/ 963395 h 1926790"/>
              <a:gd name="connsiteX4" fmla="*/ 576052 w 934214"/>
              <a:gd name="connsiteY4" fmla="*/ 0 h 1926790"/>
              <a:gd name="connsiteX5" fmla="*/ 842775 w 934214"/>
              <a:gd name="connsiteY5" fmla="*/ 0 h 1926790"/>
              <a:gd name="connsiteX6" fmla="*/ 934214 w 934214"/>
              <a:gd name="connsiteY6" fmla="*/ 1117523 h 1926790"/>
              <a:gd name="connsiteX0" fmla="*/ 842774 w 842775"/>
              <a:gd name="connsiteY0" fmla="*/ 1026083 h 1926790"/>
              <a:gd name="connsiteX1" fmla="*/ 842775 w 842775"/>
              <a:gd name="connsiteY1" fmla="*/ 1926790 h 1926790"/>
              <a:gd name="connsiteX2" fmla="*/ 576052 w 842775"/>
              <a:gd name="connsiteY2" fmla="*/ 1926790 h 1926790"/>
              <a:gd name="connsiteX3" fmla="*/ 0 w 842775"/>
              <a:gd name="connsiteY3" fmla="*/ 963395 h 1926790"/>
              <a:gd name="connsiteX4" fmla="*/ 576052 w 842775"/>
              <a:gd name="connsiteY4" fmla="*/ 0 h 1926790"/>
              <a:gd name="connsiteX5" fmla="*/ 842775 w 842775"/>
              <a:gd name="connsiteY5" fmla="*/ 0 h 1926790"/>
              <a:gd name="connsiteX0" fmla="*/ 842775 w 842775"/>
              <a:gd name="connsiteY0" fmla="*/ 1926790 h 1926790"/>
              <a:gd name="connsiteX1" fmla="*/ 576052 w 842775"/>
              <a:gd name="connsiteY1" fmla="*/ 1926790 h 1926790"/>
              <a:gd name="connsiteX2" fmla="*/ 0 w 842775"/>
              <a:gd name="connsiteY2" fmla="*/ 963395 h 1926790"/>
              <a:gd name="connsiteX3" fmla="*/ 576052 w 842775"/>
              <a:gd name="connsiteY3" fmla="*/ 0 h 1926790"/>
              <a:gd name="connsiteX4" fmla="*/ 842775 w 842775"/>
              <a:gd name="connsiteY4" fmla="*/ 0 h 1926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75" h="1926790">
                <a:moveTo>
                  <a:pt x="842775" y="1926790"/>
                </a:moveTo>
                <a:lnTo>
                  <a:pt x="576052" y="1926790"/>
                </a:lnTo>
                <a:lnTo>
                  <a:pt x="0" y="963395"/>
                </a:lnTo>
                <a:lnTo>
                  <a:pt x="576052" y="0"/>
                </a:lnTo>
                <a:lnTo>
                  <a:pt x="842775" y="0"/>
                </a:lnTo>
              </a:path>
            </a:pathLst>
          </a:custGeom>
          <a:noFill/>
          <a:ln>
            <a:gradFill flip="none" rotWithShape="1">
              <a:gsLst>
                <a:gs pos="0">
                  <a:schemeClr val="bg1"/>
                </a:gs>
                <a:gs pos="100000">
                  <a:srgbClr val="C7B1D7"/>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153" name="Hexagon 116">
            <a:extLst>
              <a:ext uri="{FF2B5EF4-FFF2-40B4-BE49-F238E27FC236}">
                <a16:creationId xmlns:a16="http://schemas.microsoft.com/office/drawing/2014/main" id="{A45798BF-0E8C-4DFE-AE75-2FFB3F61B65F}"/>
              </a:ext>
            </a:extLst>
          </p:cNvPr>
          <p:cNvSpPr/>
          <p:nvPr/>
        </p:nvSpPr>
        <p:spPr>
          <a:xfrm flipH="1">
            <a:off x="1610706" y="2632200"/>
            <a:ext cx="2158241" cy="1882809"/>
          </a:xfrm>
          <a:custGeom>
            <a:avLst/>
            <a:gdLst>
              <a:gd name="connsiteX0" fmla="*/ 0 w 2147851"/>
              <a:gd name="connsiteY0" fmla="*/ 939985 h 1879970"/>
              <a:gd name="connsiteX1" fmla="*/ 562055 w 2147851"/>
              <a:gd name="connsiteY1" fmla="*/ 0 h 1879970"/>
              <a:gd name="connsiteX2" fmla="*/ 1585796 w 2147851"/>
              <a:gd name="connsiteY2" fmla="*/ 0 h 1879970"/>
              <a:gd name="connsiteX3" fmla="*/ 2147851 w 2147851"/>
              <a:gd name="connsiteY3" fmla="*/ 939985 h 1879970"/>
              <a:gd name="connsiteX4" fmla="*/ 1585796 w 2147851"/>
              <a:gd name="connsiteY4" fmla="*/ 1879970 h 1879970"/>
              <a:gd name="connsiteX5" fmla="*/ 562055 w 2147851"/>
              <a:gd name="connsiteY5" fmla="*/ 1879970 h 1879970"/>
              <a:gd name="connsiteX6" fmla="*/ 0 w 2147851"/>
              <a:gd name="connsiteY6" fmla="*/ 939985 h 1879970"/>
              <a:gd name="connsiteX0" fmla="*/ 562055 w 2147851"/>
              <a:gd name="connsiteY0" fmla="*/ 0 h 1879970"/>
              <a:gd name="connsiteX1" fmla="*/ 1585796 w 2147851"/>
              <a:gd name="connsiteY1" fmla="*/ 0 h 1879970"/>
              <a:gd name="connsiteX2" fmla="*/ 2147851 w 2147851"/>
              <a:gd name="connsiteY2" fmla="*/ 939985 h 1879970"/>
              <a:gd name="connsiteX3" fmla="*/ 1585796 w 2147851"/>
              <a:gd name="connsiteY3" fmla="*/ 1879970 h 1879970"/>
              <a:gd name="connsiteX4" fmla="*/ 562055 w 2147851"/>
              <a:gd name="connsiteY4" fmla="*/ 1879970 h 1879970"/>
              <a:gd name="connsiteX5" fmla="*/ 0 w 2147851"/>
              <a:gd name="connsiteY5" fmla="*/ 939985 h 1879970"/>
              <a:gd name="connsiteX6" fmla="*/ 653495 w 2147851"/>
              <a:gd name="connsiteY6" fmla="*/ 91440 h 1879970"/>
              <a:gd name="connsiteX0" fmla="*/ 562055 w 2147851"/>
              <a:gd name="connsiteY0" fmla="*/ 0 h 1879970"/>
              <a:gd name="connsiteX1" fmla="*/ 1585796 w 2147851"/>
              <a:gd name="connsiteY1" fmla="*/ 0 h 1879970"/>
              <a:gd name="connsiteX2" fmla="*/ 2147851 w 2147851"/>
              <a:gd name="connsiteY2" fmla="*/ 939985 h 1879970"/>
              <a:gd name="connsiteX3" fmla="*/ 1585796 w 2147851"/>
              <a:gd name="connsiteY3" fmla="*/ 1879970 h 1879970"/>
              <a:gd name="connsiteX4" fmla="*/ 562055 w 2147851"/>
              <a:gd name="connsiteY4" fmla="*/ 1879970 h 1879970"/>
              <a:gd name="connsiteX5" fmla="*/ 0 w 2147851"/>
              <a:gd name="connsiteY5" fmla="*/ 939985 h 1879970"/>
              <a:gd name="connsiteX0" fmla="*/ 1585796 w 2147851"/>
              <a:gd name="connsiteY0" fmla="*/ 0 h 1879970"/>
              <a:gd name="connsiteX1" fmla="*/ 2147851 w 2147851"/>
              <a:gd name="connsiteY1" fmla="*/ 939985 h 1879970"/>
              <a:gd name="connsiteX2" fmla="*/ 1585796 w 2147851"/>
              <a:gd name="connsiteY2" fmla="*/ 1879970 h 1879970"/>
              <a:gd name="connsiteX3" fmla="*/ 562055 w 2147851"/>
              <a:gd name="connsiteY3" fmla="*/ 1879970 h 1879970"/>
              <a:gd name="connsiteX4" fmla="*/ 0 w 2147851"/>
              <a:gd name="connsiteY4" fmla="*/ 939985 h 1879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7851" h="1879970">
                <a:moveTo>
                  <a:pt x="1585796" y="0"/>
                </a:moveTo>
                <a:lnTo>
                  <a:pt x="2147851" y="939985"/>
                </a:lnTo>
                <a:lnTo>
                  <a:pt x="1585796" y="1879970"/>
                </a:lnTo>
                <a:lnTo>
                  <a:pt x="562055" y="1879970"/>
                </a:lnTo>
                <a:lnTo>
                  <a:pt x="0" y="939985"/>
                </a:lnTo>
              </a:path>
            </a:pathLst>
          </a:custGeom>
          <a:noFill/>
          <a:ln>
            <a:solidFill>
              <a:srgbClr val="D1C0D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154" name="Freeform: Shape 153">
            <a:extLst>
              <a:ext uri="{FF2B5EF4-FFF2-40B4-BE49-F238E27FC236}">
                <a16:creationId xmlns:a16="http://schemas.microsoft.com/office/drawing/2014/main" id="{74BCE41D-03AA-4F11-A6AA-10FD7B372752}"/>
              </a:ext>
            </a:extLst>
          </p:cNvPr>
          <p:cNvSpPr/>
          <p:nvPr/>
        </p:nvSpPr>
        <p:spPr>
          <a:xfrm flipH="1">
            <a:off x="1255605" y="3628186"/>
            <a:ext cx="833432" cy="1871129"/>
          </a:xfrm>
          <a:custGeom>
            <a:avLst/>
            <a:gdLst>
              <a:gd name="connsiteX0" fmla="*/ 576052 w 842775"/>
              <a:gd name="connsiteY0" fmla="*/ 0 h 1926790"/>
              <a:gd name="connsiteX1" fmla="*/ 842775 w 842775"/>
              <a:gd name="connsiteY1" fmla="*/ 0 h 1926790"/>
              <a:gd name="connsiteX2" fmla="*/ 842775 w 842775"/>
              <a:gd name="connsiteY2" fmla="*/ 1926790 h 1926790"/>
              <a:gd name="connsiteX3" fmla="*/ 576052 w 842775"/>
              <a:gd name="connsiteY3" fmla="*/ 1926790 h 1926790"/>
              <a:gd name="connsiteX4" fmla="*/ 0 w 842775"/>
              <a:gd name="connsiteY4" fmla="*/ 963395 h 1926790"/>
              <a:gd name="connsiteX0" fmla="*/ 576052 w 842775"/>
              <a:gd name="connsiteY0" fmla="*/ 0 h 1926790"/>
              <a:gd name="connsiteX1" fmla="*/ 842775 w 842775"/>
              <a:gd name="connsiteY1" fmla="*/ 0 h 1926790"/>
              <a:gd name="connsiteX2" fmla="*/ 842774 w 842775"/>
              <a:gd name="connsiteY2" fmla="*/ 1026083 h 1926790"/>
              <a:gd name="connsiteX3" fmla="*/ 842775 w 842775"/>
              <a:gd name="connsiteY3" fmla="*/ 1926790 h 1926790"/>
              <a:gd name="connsiteX4" fmla="*/ 576052 w 842775"/>
              <a:gd name="connsiteY4" fmla="*/ 1926790 h 1926790"/>
              <a:gd name="connsiteX5" fmla="*/ 0 w 842775"/>
              <a:gd name="connsiteY5" fmla="*/ 963395 h 1926790"/>
              <a:gd name="connsiteX6" fmla="*/ 576052 w 842775"/>
              <a:gd name="connsiteY6" fmla="*/ 0 h 1926790"/>
              <a:gd name="connsiteX0" fmla="*/ 842774 w 934214"/>
              <a:gd name="connsiteY0" fmla="*/ 1026083 h 1926790"/>
              <a:gd name="connsiteX1" fmla="*/ 842775 w 934214"/>
              <a:gd name="connsiteY1" fmla="*/ 1926790 h 1926790"/>
              <a:gd name="connsiteX2" fmla="*/ 576052 w 934214"/>
              <a:gd name="connsiteY2" fmla="*/ 1926790 h 1926790"/>
              <a:gd name="connsiteX3" fmla="*/ 0 w 934214"/>
              <a:gd name="connsiteY3" fmla="*/ 963395 h 1926790"/>
              <a:gd name="connsiteX4" fmla="*/ 576052 w 934214"/>
              <a:gd name="connsiteY4" fmla="*/ 0 h 1926790"/>
              <a:gd name="connsiteX5" fmla="*/ 842775 w 934214"/>
              <a:gd name="connsiteY5" fmla="*/ 0 h 1926790"/>
              <a:gd name="connsiteX6" fmla="*/ 934214 w 934214"/>
              <a:gd name="connsiteY6" fmla="*/ 1117523 h 1926790"/>
              <a:gd name="connsiteX0" fmla="*/ 842774 w 842775"/>
              <a:gd name="connsiteY0" fmla="*/ 1026083 h 1926790"/>
              <a:gd name="connsiteX1" fmla="*/ 842775 w 842775"/>
              <a:gd name="connsiteY1" fmla="*/ 1926790 h 1926790"/>
              <a:gd name="connsiteX2" fmla="*/ 576052 w 842775"/>
              <a:gd name="connsiteY2" fmla="*/ 1926790 h 1926790"/>
              <a:gd name="connsiteX3" fmla="*/ 0 w 842775"/>
              <a:gd name="connsiteY3" fmla="*/ 963395 h 1926790"/>
              <a:gd name="connsiteX4" fmla="*/ 576052 w 842775"/>
              <a:gd name="connsiteY4" fmla="*/ 0 h 1926790"/>
              <a:gd name="connsiteX5" fmla="*/ 842775 w 842775"/>
              <a:gd name="connsiteY5" fmla="*/ 0 h 1926790"/>
              <a:gd name="connsiteX0" fmla="*/ 842775 w 842775"/>
              <a:gd name="connsiteY0" fmla="*/ 1926790 h 1926790"/>
              <a:gd name="connsiteX1" fmla="*/ 576052 w 842775"/>
              <a:gd name="connsiteY1" fmla="*/ 1926790 h 1926790"/>
              <a:gd name="connsiteX2" fmla="*/ 0 w 842775"/>
              <a:gd name="connsiteY2" fmla="*/ 963395 h 1926790"/>
              <a:gd name="connsiteX3" fmla="*/ 576052 w 842775"/>
              <a:gd name="connsiteY3" fmla="*/ 0 h 1926790"/>
              <a:gd name="connsiteX4" fmla="*/ 842775 w 842775"/>
              <a:gd name="connsiteY4" fmla="*/ 0 h 1926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75" h="1926790">
                <a:moveTo>
                  <a:pt x="842775" y="1926790"/>
                </a:moveTo>
                <a:lnTo>
                  <a:pt x="576052" y="1926790"/>
                </a:lnTo>
                <a:lnTo>
                  <a:pt x="0" y="963395"/>
                </a:lnTo>
                <a:lnTo>
                  <a:pt x="576052" y="0"/>
                </a:lnTo>
                <a:lnTo>
                  <a:pt x="842775" y="0"/>
                </a:lnTo>
              </a:path>
            </a:pathLst>
          </a:custGeom>
          <a:noFill/>
          <a:ln>
            <a:gradFill flip="none" rotWithShape="1">
              <a:gsLst>
                <a:gs pos="0">
                  <a:schemeClr val="bg1"/>
                </a:gs>
                <a:gs pos="100000">
                  <a:srgbClr val="C7B1D7"/>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155" name="Hexagon 116">
            <a:extLst>
              <a:ext uri="{FF2B5EF4-FFF2-40B4-BE49-F238E27FC236}">
                <a16:creationId xmlns:a16="http://schemas.microsoft.com/office/drawing/2014/main" id="{9117A7A8-419F-4437-BDEF-66FC1ED804B4}"/>
              </a:ext>
            </a:extLst>
          </p:cNvPr>
          <p:cNvSpPr/>
          <p:nvPr/>
        </p:nvSpPr>
        <p:spPr>
          <a:xfrm flipH="1" flipV="1">
            <a:off x="1610668" y="4609878"/>
            <a:ext cx="2182311" cy="1882809"/>
          </a:xfrm>
          <a:custGeom>
            <a:avLst/>
            <a:gdLst>
              <a:gd name="connsiteX0" fmla="*/ 0 w 2147851"/>
              <a:gd name="connsiteY0" fmla="*/ 939985 h 1879970"/>
              <a:gd name="connsiteX1" fmla="*/ 562055 w 2147851"/>
              <a:gd name="connsiteY1" fmla="*/ 0 h 1879970"/>
              <a:gd name="connsiteX2" fmla="*/ 1585796 w 2147851"/>
              <a:gd name="connsiteY2" fmla="*/ 0 h 1879970"/>
              <a:gd name="connsiteX3" fmla="*/ 2147851 w 2147851"/>
              <a:gd name="connsiteY3" fmla="*/ 939985 h 1879970"/>
              <a:gd name="connsiteX4" fmla="*/ 1585796 w 2147851"/>
              <a:gd name="connsiteY4" fmla="*/ 1879970 h 1879970"/>
              <a:gd name="connsiteX5" fmla="*/ 562055 w 2147851"/>
              <a:gd name="connsiteY5" fmla="*/ 1879970 h 1879970"/>
              <a:gd name="connsiteX6" fmla="*/ 0 w 2147851"/>
              <a:gd name="connsiteY6" fmla="*/ 939985 h 1879970"/>
              <a:gd name="connsiteX0" fmla="*/ 562055 w 2147851"/>
              <a:gd name="connsiteY0" fmla="*/ 0 h 1879970"/>
              <a:gd name="connsiteX1" fmla="*/ 1585796 w 2147851"/>
              <a:gd name="connsiteY1" fmla="*/ 0 h 1879970"/>
              <a:gd name="connsiteX2" fmla="*/ 2147851 w 2147851"/>
              <a:gd name="connsiteY2" fmla="*/ 939985 h 1879970"/>
              <a:gd name="connsiteX3" fmla="*/ 1585796 w 2147851"/>
              <a:gd name="connsiteY3" fmla="*/ 1879970 h 1879970"/>
              <a:gd name="connsiteX4" fmla="*/ 562055 w 2147851"/>
              <a:gd name="connsiteY4" fmla="*/ 1879970 h 1879970"/>
              <a:gd name="connsiteX5" fmla="*/ 0 w 2147851"/>
              <a:gd name="connsiteY5" fmla="*/ 939985 h 1879970"/>
              <a:gd name="connsiteX6" fmla="*/ 653495 w 2147851"/>
              <a:gd name="connsiteY6" fmla="*/ 91440 h 1879970"/>
              <a:gd name="connsiteX0" fmla="*/ 562055 w 2147851"/>
              <a:gd name="connsiteY0" fmla="*/ 0 h 1879970"/>
              <a:gd name="connsiteX1" fmla="*/ 1585796 w 2147851"/>
              <a:gd name="connsiteY1" fmla="*/ 0 h 1879970"/>
              <a:gd name="connsiteX2" fmla="*/ 2147851 w 2147851"/>
              <a:gd name="connsiteY2" fmla="*/ 939985 h 1879970"/>
              <a:gd name="connsiteX3" fmla="*/ 1585796 w 2147851"/>
              <a:gd name="connsiteY3" fmla="*/ 1879970 h 1879970"/>
              <a:gd name="connsiteX4" fmla="*/ 562055 w 2147851"/>
              <a:gd name="connsiteY4" fmla="*/ 1879970 h 1879970"/>
              <a:gd name="connsiteX5" fmla="*/ 0 w 2147851"/>
              <a:gd name="connsiteY5" fmla="*/ 939985 h 1879970"/>
              <a:gd name="connsiteX0" fmla="*/ 1585796 w 2147851"/>
              <a:gd name="connsiteY0" fmla="*/ 0 h 1879970"/>
              <a:gd name="connsiteX1" fmla="*/ 2147851 w 2147851"/>
              <a:gd name="connsiteY1" fmla="*/ 939985 h 1879970"/>
              <a:gd name="connsiteX2" fmla="*/ 1585796 w 2147851"/>
              <a:gd name="connsiteY2" fmla="*/ 1879970 h 1879970"/>
              <a:gd name="connsiteX3" fmla="*/ 562055 w 2147851"/>
              <a:gd name="connsiteY3" fmla="*/ 1879970 h 1879970"/>
              <a:gd name="connsiteX4" fmla="*/ 0 w 2147851"/>
              <a:gd name="connsiteY4" fmla="*/ 939985 h 1879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7851" h="1879970">
                <a:moveTo>
                  <a:pt x="1585796" y="0"/>
                </a:moveTo>
                <a:lnTo>
                  <a:pt x="2147851" y="939985"/>
                </a:lnTo>
                <a:lnTo>
                  <a:pt x="1585796" y="1879970"/>
                </a:lnTo>
                <a:lnTo>
                  <a:pt x="562055" y="1879970"/>
                </a:lnTo>
                <a:lnTo>
                  <a:pt x="0" y="939985"/>
                </a:lnTo>
              </a:path>
            </a:pathLst>
          </a:custGeom>
          <a:noFill/>
          <a:ln>
            <a:gradFill flip="none" rotWithShape="1">
              <a:gsLst>
                <a:gs pos="0">
                  <a:schemeClr val="bg1"/>
                </a:gs>
                <a:gs pos="100000">
                  <a:srgbClr val="C7B1D7"/>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156" name="Hexagon 116">
            <a:extLst>
              <a:ext uri="{FF2B5EF4-FFF2-40B4-BE49-F238E27FC236}">
                <a16:creationId xmlns:a16="http://schemas.microsoft.com/office/drawing/2014/main" id="{A6B1F7A2-01E8-4F1B-80AF-3B0F160BDB6C}"/>
              </a:ext>
            </a:extLst>
          </p:cNvPr>
          <p:cNvSpPr/>
          <p:nvPr/>
        </p:nvSpPr>
        <p:spPr>
          <a:xfrm flipV="1">
            <a:off x="8399338" y="4631598"/>
            <a:ext cx="2168665" cy="1898806"/>
          </a:xfrm>
          <a:custGeom>
            <a:avLst/>
            <a:gdLst>
              <a:gd name="connsiteX0" fmla="*/ 0 w 2147851"/>
              <a:gd name="connsiteY0" fmla="*/ 939985 h 1879970"/>
              <a:gd name="connsiteX1" fmla="*/ 562055 w 2147851"/>
              <a:gd name="connsiteY1" fmla="*/ 0 h 1879970"/>
              <a:gd name="connsiteX2" fmla="*/ 1585796 w 2147851"/>
              <a:gd name="connsiteY2" fmla="*/ 0 h 1879970"/>
              <a:gd name="connsiteX3" fmla="*/ 2147851 w 2147851"/>
              <a:gd name="connsiteY3" fmla="*/ 939985 h 1879970"/>
              <a:gd name="connsiteX4" fmla="*/ 1585796 w 2147851"/>
              <a:gd name="connsiteY4" fmla="*/ 1879970 h 1879970"/>
              <a:gd name="connsiteX5" fmla="*/ 562055 w 2147851"/>
              <a:gd name="connsiteY5" fmla="*/ 1879970 h 1879970"/>
              <a:gd name="connsiteX6" fmla="*/ 0 w 2147851"/>
              <a:gd name="connsiteY6" fmla="*/ 939985 h 1879970"/>
              <a:gd name="connsiteX0" fmla="*/ 562055 w 2147851"/>
              <a:gd name="connsiteY0" fmla="*/ 0 h 1879970"/>
              <a:gd name="connsiteX1" fmla="*/ 1585796 w 2147851"/>
              <a:gd name="connsiteY1" fmla="*/ 0 h 1879970"/>
              <a:gd name="connsiteX2" fmla="*/ 2147851 w 2147851"/>
              <a:gd name="connsiteY2" fmla="*/ 939985 h 1879970"/>
              <a:gd name="connsiteX3" fmla="*/ 1585796 w 2147851"/>
              <a:gd name="connsiteY3" fmla="*/ 1879970 h 1879970"/>
              <a:gd name="connsiteX4" fmla="*/ 562055 w 2147851"/>
              <a:gd name="connsiteY4" fmla="*/ 1879970 h 1879970"/>
              <a:gd name="connsiteX5" fmla="*/ 0 w 2147851"/>
              <a:gd name="connsiteY5" fmla="*/ 939985 h 1879970"/>
              <a:gd name="connsiteX6" fmla="*/ 653495 w 2147851"/>
              <a:gd name="connsiteY6" fmla="*/ 91440 h 1879970"/>
              <a:gd name="connsiteX0" fmla="*/ 562055 w 2147851"/>
              <a:gd name="connsiteY0" fmla="*/ 0 h 1879970"/>
              <a:gd name="connsiteX1" fmla="*/ 1585796 w 2147851"/>
              <a:gd name="connsiteY1" fmla="*/ 0 h 1879970"/>
              <a:gd name="connsiteX2" fmla="*/ 2147851 w 2147851"/>
              <a:gd name="connsiteY2" fmla="*/ 939985 h 1879970"/>
              <a:gd name="connsiteX3" fmla="*/ 1585796 w 2147851"/>
              <a:gd name="connsiteY3" fmla="*/ 1879970 h 1879970"/>
              <a:gd name="connsiteX4" fmla="*/ 562055 w 2147851"/>
              <a:gd name="connsiteY4" fmla="*/ 1879970 h 1879970"/>
              <a:gd name="connsiteX5" fmla="*/ 0 w 2147851"/>
              <a:gd name="connsiteY5" fmla="*/ 939985 h 1879970"/>
              <a:gd name="connsiteX0" fmla="*/ 1585796 w 2147851"/>
              <a:gd name="connsiteY0" fmla="*/ 0 h 1879970"/>
              <a:gd name="connsiteX1" fmla="*/ 2147851 w 2147851"/>
              <a:gd name="connsiteY1" fmla="*/ 939985 h 1879970"/>
              <a:gd name="connsiteX2" fmla="*/ 1585796 w 2147851"/>
              <a:gd name="connsiteY2" fmla="*/ 1879970 h 1879970"/>
              <a:gd name="connsiteX3" fmla="*/ 562055 w 2147851"/>
              <a:gd name="connsiteY3" fmla="*/ 1879970 h 1879970"/>
              <a:gd name="connsiteX4" fmla="*/ 0 w 2147851"/>
              <a:gd name="connsiteY4" fmla="*/ 939985 h 1879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7851" h="1879970">
                <a:moveTo>
                  <a:pt x="1585796" y="0"/>
                </a:moveTo>
                <a:lnTo>
                  <a:pt x="2147851" y="939985"/>
                </a:lnTo>
                <a:lnTo>
                  <a:pt x="1585796" y="1879970"/>
                </a:lnTo>
                <a:lnTo>
                  <a:pt x="562055" y="1879970"/>
                </a:lnTo>
                <a:lnTo>
                  <a:pt x="0" y="939985"/>
                </a:lnTo>
              </a:path>
            </a:pathLst>
          </a:custGeom>
          <a:noFill/>
          <a:ln>
            <a:solidFill>
              <a:srgbClr val="C7B1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157" name="Hexagon 116">
            <a:extLst>
              <a:ext uri="{FF2B5EF4-FFF2-40B4-BE49-F238E27FC236}">
                <a16:creationId xmlns:a16="http://schemas.microsoft.com/office/drawing/2014/main" id="{154A2AF0-FEA8-4E3D-8919-2A961DC736D1}"/>
              </a:ext>
            </a:extLst>
          </p:cNvPr>
          <p:cNvSpPr/>
          <p:nvPr/>
        </p:nvSpPr>
        <p:spPr>
          <a:xfrm>
            <a:off x="5007956" y="1585786"/>
            <a:ext cx="2158241" cy="939985"/>
          </a:xfrm>
          <a:custGeom>
            <a:avLst/>
            <a:gdLst>
              <a:gd name="connsiteX0" fmla="*/ 0 w 2147851"/>
              <a:gd name="connsiteY0" fmla="*/ 939985 h 1879970"/>
              <a:gd name="connsiteX1" fmla="*/ 562055 w 2147851"/>
              <a:gd name="connsiteY1" fmla="*/ 0 h 1879970"/>
              <a:gd name="connsiteX2" fmla="*/ 1585796 w 2147851"/>
              <a:gd name="connsiteY2" fmla="*/ 0 h 1879970"/>
              <a:gd name="connsiteX3" fmla="*/ 2147851 w 2147851"/>
              <a:gd name="connsiteY3" fmla="*/ 939985 h 1879970"/>
              <a:gd name="connsiteX4" fmla="*/ 1585796 w 2147851"/>
              <a:gd name="connsiteY4" fmla="*/ 1879970 h 1879970"/>
              <a:gd name="connsiteX5" fmla="*/ 562055 w 2147851"/>
              <a:gd name="connsiteY5" fmla="*/ 1879970 h 1879970"/>
              <a:gd name="connsiteX6" fmla="*/ 0 w 2147851"/>
              <a:gd name="connsiteY6" fmla="*/ 939985 h 1879970"/>
              <a:gd name="connsiteX0" fmla="*/ 562055 w 2147851"/>
              <a:gd name="connsiteY0" fmla="*/ 0 h 1879970"/>
              <a:gd name="connsiteX1" fmla="*/ 1585796 w 2147851"/>
              <a:gd name="connsiteY1" fmla="*/ 0 h 1879970"/>
              <a:gd name="connsiteX2" fmla="*/ 2147851 w 2147851"/>
              <a:gd name="connsiteY2" fmla="*/ 939985 h 1879970"/>
              <a:gd name="connsiteX3" fmla="*/ 1585796 w 2147851"/>
              <a:gd name="connsiteY3" fmla="*/ 1879970 h 1879970"/>
              <a:gd name="connsiteX4" fmla="*/ 562055 w 2147851"/>
              <a:gd name="connsiteY4" fmla="*/ 1879970 h 1879970"/>
              <a:gd name="connsiteX5" fmla="*/ 0 w 2147851"/>
              <a:gd name="connsiteY5" fmla="*/ 939985 h 1879970"/>
              <a:gd name="connsiteX6" fmla="*/ 653495 w 2147851"/>
              <a:gd name="connsiteY6" fmla="*/ 91440 h 1879970"/>
              <a:gd name="connsiteX0" fmla="*/ 562055 w 2147851"/>
              <a:gd name="connsiteY0" fmla="*/ 0 h 1879970"/>
              <a:gd name="connsiteX1" fmla="*/ 1585796 w 2147851"/>
              <a:gd name="connsiteY1" fmla="*/ 0 h 1879970"/>
              <a:gd name="connsiteX2" fmla="*/ 2147851 w 2147851"/>
              <a:gd name="connsiteY2" fmla="*/ 939985 h 1879970"/>
              <a:gd name="connsiteX3" fmla="*/ 1585796 w 2147851"/>
              <a:gd name="connsiteY3" fmla="*/ 1879970 h 1879970"/>
              <a:gd name="connsiteX4" fmla="*/ 562055 w 2147851"/>
              <a:gd name="connsiteY4" fmla="*/ 1879970 h 1879970"/>
              <a:gd name="connsiteX5" fmla="*/ 0 w 2147851"/>
              <a:gd name="connsiteY5" fmla="*/ 939985 h 1879970"/>
              <a:gd name="connsiteX0" fmla="*/ 1585796 w 2147851"/>
              <a:gd name="connsiteY0" fmla="*/ 0 h 1879970"/>
              <a:gd name="connsiteX1" fmla="*/ 2147851 w 2147851"/>
              <a:gd name="connsiteY1" fmla="*/ 939985 h 1879970"/>
              <a:gd name="connsiteX2" fmla="*/ 1585796 w 2147851"/>
              <a:gd name="connsiteY2" fmla="*/ 1879970 h 1879970"/>
              <a:gd name="connsiteX3" fmla="*/ 562055 w 2147851"/>
              <a:gd name="connsiteY3" fmla="*/ 1879970 h 1879970"/>
              <a:gd name="connsiteX4" fmla="*/ 0 w 2147851"/>
              <a:gd name="connsiteY4" fmla="*/ 939985 h 1879970"/>
              <a:gd name="connsiteX0" fmla="*/ 2147851 w 2147851"/>
              <a:gd name="connsiteY0" fmla="*/ 0 h 939985"/>
              <a:gd name="connsiteX1" fmla="*/ 1585796 w 2147851"/>
              <a:gd name="connsiteY1" fmla="*/ 939985 h 939985"/>
              <a:gd name="connsiteX2" fmla="*/ 562055 w 2147851"/>
              <a:gd name="connsiteY2" fmla="*/ 939985 h 939985"/>
              <a:gd name="connsiteX3" fmla="*/ 0 w 2147851"/>
              <a:gd name="connsiteY3" fmla="*/ 0 h 939985"/>
            </a:gdLst>
            <a:ahLst/>
            <a:cxnLst>
              <a:cxn ang="0">
                <a:pos x="connsiteX0" y="connsiteY0"/>
              </a:cxn>
              <a:cxn ang="0">
                <a:pos x="connsiteX1" y="connsiteY1"/>
              </a:cxn>
              <a:cxn ang="0">
                <a:pos x="connsiteX2" y="connsiteY2"/>
              </a:cxn>
              <a:cxn ang="0">
                <a:pos x="connsiteX3" y="connsiteY3"/>
              </a:cxn>
            </a:cxnLst>
            <a:rect l="l" t="t" r="r" b="b"/>
            <a:pathLst>
              <a:path w="2147851" h="939985">
                <a:moveTo>
                  <a:pt x="2147851" y="0"/>
                </a:moveTo>
                <a:lnTo>
                  <a:pt x="1585796" y="939985"/>
                </a:lnTo>
                <a:lnTo>
                  <a:pt x="562055" y="939985"/>
                </a:lnTo>
                <a:lnTo>
                  <a:pt x="0" y="0"/>
                </a:lnTo>
              </a:path>
            </a:pathLst>
          </a:custGeom>
          <a:noFill/>
          <a:ln>
            <a:gradFill flip="none" rotWithShape="1">
              <a:gsLst>
                <a:gs pos="0">
                  <a:schemeClr val="bg1"/>
                </a:gs>
                <a:gs pos="100000">
                  <a:srgbClr val="C7B1D7"/>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191" name="Rectangle 190">
            <a:extLst>
              <a:ext uri="{FF2B5EF4-FFF2-40B4-BE49-F238E27FC236}">
                <a16:creationId xmlns:a16="http://schemas.microsoft.com/office/drawing/2014/main" id="{A29F5F76-BAB3-4A4B-AA69-08125119E4B7}"/>
              </a:ext>
            </a:extLst>
          </p:cNvPr>
          <p:cNvSpPr>
            <a:spLocks/>
          </p:cNvSpPr>
          <p:nvPr/>
        </p:nvSpPr>
        <p:spPr bwMode="auto">
          <a:xfrm flipH="1">
            <a:off x="5305554" y="3470302"/>
            <a:ext cx="1622562" cy="43088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52D90"/>
                </a:solidFill>
                <a:effectLst/>
                <a:uLnTx/>
                <a:uFillTx/>
                <a:latin typeface="Segoe UI Semibold"/>
                <a:ea typeface="+mn-ea"/>
                <a:cs typeface="Segoe UI Semibold" panose="020B0502040204020203" pitchFamily="34" charset="0"/>
              </a:rPr>
              <a:t>Enhance customer experience </a:t>
            </a:r>
            <a:endParaRPr kumimoji="0" lang="en-US" sz="1400" b="0" i="0" u="none" strike="noStrike" kern="1200" cap="none" spc="0" normalizeH="0" baseline="0" noProof="0">
              <a:ln>
                <a:noFill/>
              </a:ln>
              <a:solidFill>
                <a:srgbClr val="652D90"/>
              </a:solidFill>
              <a:effectLst/>
              <a:uLnTx/>
              <a:uFillTx/>
              <a:latin typeface="Segoe UI"/>
              <a:ea typeface="+mn-ea"/>
              <a:cs typeface="Segoe UI Semibold" panose="020B0502040204020203" pitchFamily="34" charset="0"/>
            </a:endParaRPr>
          </a:p>
        </p:txBody>
      </p:sp>
      <p:pic>
        <p:nvPicPr>
          <p:cNvPr id="3" name="Picture 2" descr="Diagram&#10;&#10;Description automatically generated">
            <a:extLst>
              <a:ext uri="{FF2B5EF4-FFF2-40B4-BE49-F238E27FC236}">
                <a16:creationId xmlns:a16="http://schemas.microsoft.com/office/drawing/2014/main" id="{767DD89F-21A2-F9F6-4B4D-B07ACAC9CF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7845" y="1839042"/>
            <a:ext cx="7860499" cy="4861810"/>
          </a:xfrm>
          <a:prstGeom prst="rect">
            <a:avLst/>
          </a:prstGeom>
        </p:spPr>
      </p:pic>
    </p:spTree>
    <p:extLst>
      <p:ext uri="{BB962C8B-B14F-4D97-AF65-F5344CB8AC3E}">
        <p14:creationId xmlns:p14="http://schemas.microsoft.com/office/powerpoint/2010/main" val="228970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BA5DF94-C3DA-4855-B6EA-782BADAFEB4A}"/>
              </a:ext>
            </a:extLst>
          </p:cNvPr>
          <p:cNvSpPr>
            <a:spLocks/>
          </p:cNvSpPr>
          <p:nvPr/>
        </p:nvSpPr>
        <p:spPr>
          <a:xfrm>
            <a:off x="468718"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rPr>
              <a:t>Call with the Customer to assess qualification to the program</a:t>
            </a:r>
          </a:p>
          <a:p>
            <a:pPr marL="0" marR="0" lvl="0" indent="0" algn="l" defTabSz="914400" rtl="0" eaLnBrk="1" fontAlgn="auto" latinLnBrk="0" hangingPunct="1">
              <a:lnSpc>
                <a:spcPct val="100000"/>
              </a:lnSpc>
              <a:spcBef>
                <a:spcPts val="200"/>
              </a:spcBef>
              <a:spcAft>
                <a:spcPts val="400"/>
              </a:spcAft>
              <a:buClrTx/>
              <a:buSzTx/>
              <a:buFontTx/>
              <a:buNone/>
              <a:tabLst/>
              <a:defRPr/>
            </a:pPr>
            <a:endPar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rPr>
              <a:t>Offering: 2-day CSU-led workshop with experts on Recommender Systems</a:t>
            </a:r>
          </a:p>
        </p:txBody>
      </p:sp>
      <p:sp>
        <p:nvSpPr>
          <p:cNvPr id="76" name="Rectangle 75">
            <a:extLst>
              <a:ext uri="{FF2B5EF4-FFF2-40B4-BE49-F238E27FC236}">
                <a16:creationId xmlns:a16="http://schemas.microsoft.com/office/drawing/2014/main" id="{BE460791-3C2D-4D8D-92BB-2A523401899E}"/>
              </a:ext>
            </a:extLst>
          </p:cNvPr>
          <p:cNvSpPr>
            <a:spLocks/>
          </p:cNvSpPr>
          <p:nvPr/>
        </p:nvSpPr>
        <p:spPr>
          <a:xfrm>
            <a:off x="8043856"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Production </a:t>
            </a:r>
            <a:r>
              <a:rPr lang="en-US" sz="1600" dirty="0">
                <a:solidFill>
                  <a:prstClr val="black"/>
                </a:solidFill>
                <a:latin typeface="Segoe UI"/>
              </a:rPr>
              <a:t>Recommender System building (code-with) and </a:t>
            </a:r>
            <a:r>
              <a:rPr kumimoji="0" lang="en-US" sz="1600" b="0" i="0" u="none" strike="noStrike" kern="1200" cap="none" spc="0" normalizeH="0" baseline="0" noProof="0" dirty="0">
                <a:ln>
                  <a:noFill/>
                </a:ln>
                <a:solidFill>
                  <a:prstClr val="black"/>
                </a:solidFill>
                <a:effectLst/>
                <a:uLnTx/>
                <a:uFillTx/>
                <a:latin typeface="Segoe UI"/>
                <a:ea typeface="+mn-ea"/>
                <a:cs typeface="+mn-cs"/>
              </a:rPr>
              <a:t>deployment with guidance and support from the technical specialists (CSA) and Partners</a:t>
            </a:r>
          </a:p>
        </p:txBody>
      </p:sp>
      <p:sp>
        <p:nvSpPr>
          <p:cNvPr id="73" name="Rectangle 72">
            <a:extLst>
              <a:ext uri="{FF2B5EF4-FFF2-40B4-BE49-F238E27FC236}">
                <a16:creationId xmlns:a16="http://schemas.microsoft.com/office/drawing/2014/main" id="{F23E3528-D838-4246-BED3-B452F0D0F09C}"/>
              </a:ext>
            </a:extLst>
          </p:cNvPr>
          <p:cNvSpPr>
            <a:spLocks/>
          </p:cNvSpPr>
          <p:nvPr/>
        </p:nvSpPr>
        <p:spPr>
          <a:xfrm>
            <a:off x="4256287"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CSU team, during the workshop, helps the interested customer </a:t>
            </a:r>
            <a:r>
              <a:rPr lang="en-US" sz="1600">
                <a:solidFill>
                  <a:prstClr val="black"/>
                </a:solidFill>
                <a:latin typeface="Segoe UI"/>
              </a:rPr>
              <a:t>build a </a:t>
            </a:r>
            <a:r>
              <a:rPr kumimoji="0" lang="en-US" sz="1600" b="0" i="0" u="none" strike="noStrike" kern="1200" cap="none" spc="0" normalizeH="0" baseline="0" noProof="0">
                <a:ln>
                  <a:noFill/>
                </a:ln>
                <a:solidFill>
                  <a:prstClr val="black"/>
                </a:solidFill>
                <a:effectLst/>
                <a:uLnTx/>
                <a:uFillTx/>
                <a:latin typeface="Segoe UI"/>
                <a:ea typeface="+mn-ea"/>
                <a:cs typeface="+mn-cs"/>
              </a:rPr>
              <a:t>Minimum Viable Product (MVP) using their own data and their own Azure subscription</a:t>
            </a:r>
          </a:p>
        </p:txBody>
      </p:sp>
      <p:sp>
        <p:nvSpPr>
          <p:cNvPr id="11" name="Title 10">
            <a:extLst>
              <a:ext uri="{FF2B5EF4-FFF2-40B4-BE49-F238E27FC236}">
                <a16:creationId xmlns:a16="http://schemas.microsoft.com/office/drawing/2014/main" id="{21AB1F4F-9065-4426-B29E-9D2E9A16EC4B}"/>
              </a:ext>
            </a:extLst>
          </p:cNvPr>
          <p:cNvSpPr>
            <a:spLocks noGrp="1"/>
          </p:cNvSpPr>
          <p:nvPr>
            <p:ph type="title"/>
          </p:nvPr>
        </p:nvSpPr>
        <p:spPr/>
        <p:txBody>
          <a:bodyPr/>
          <a:lstStyle/>
          <a:p>
            <a:r>
              <a:rPr lang="en-US"/>
              <a:t>Next steps: How to engage?</a:t>
            </a:r>
          </a:p>
        </p:txBody>
      </p:sp>
      <p:cxnSp>
        <p:nvCxnSpPr>
          <p:cNvPr id="71" name="Straight Connector 70">
            <a:extLst>
              <a:ext uri="{FF2B5EF4-FFF2-40B4-BE49-F238E27FC236}">
                <a16:creationId xmlns:a16="http://schemas.microsoft.com/office/drawing/2014/main" id="{9A9FACA6-9152-4D2A-A690-523EF0D903A4}"/>
              </a:ext>
            </a:extLst>
          </p:cNvPr>
          <p:cNvCxnSpPr>
            <a:cxnSpLocks/>
          </p:cNvCxnSpPr>
          <p:nvPr/>
        </p:nvCxnSpPr>
        <p:spPr>
          <a:xfrm>
            <a:off x="468718" y="5044200"/>
            <a:ext cx="3703320" cy="0"/>
          </a:xfrm>
          <a:prstGeom prst="line">
            <a:avLst/>
          </a:prstGeom>
          <a:ln w="38100">
            <a:solidFill>
              <a:srgbClr val="C7B1D7"/>
            </a:solidFill>
          </a:ln>
        </p:spPr>
        <p:style>
          <a:lnRef idx="1">
            <a:schemeClr val="accent1"/>
          </a:lnRef>
          <a:fillRef idx="0">
            <a:schemeClr val="accent1"/>
          </a:fillRef>
          <a:effectRef idx="0">
            <a:schemeClr val="accent1"/>
          </a:effectRef>
          <a:fontRef idx="minor">
            <a:schemeClr val="tx1"/>
          </a:fontRef>
        </p:style>
      </p:cxnSp>
      <p:sp>
        <p:nvSpPr>
          <p:cNvPr id="78" name="Arrow: Pentagon 77">
            <a:extLst>
              <a:ext uri="{FF2B5EF4-FFF2-40B4-BE49-F238E27FC236}">
                <a16:creationId xmlns:a16="http://schemas.microsoft.com/office/drawing/2014/main" id="{4990C20B-4EDB-47A5-8908-B04DC152806A}"/>
              </a:ext>
            </a:extLst>
          </p:cNvPr>
          <p:cNvSpPr>
            <a:spLocks/>
          </p:cNvSpPr>
          <p:nvPr/>
        </p:nvSpPr>
        <p:spPr>
          <a:xfrm>
            <a:off x="468719" y="2475383"/>
            <a:ext cx="3840480" cy="548640"/>
          </a:xfrm>
          <a:prstGeom prst="homePlate">
            <a:avLst>
              <a:gd name="adj" fmla="val 26350"/>
            </a:avLst>
          </a:prstGeom>
          <a:solidFill>
            <a:srgbClr val="C7B1D7"/>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Discovery Call</a:t>
            </a:r>
          </a:p>
        </p:txBody>
      </p:sp>
      <p:sp>
        <p:nvSpPr>
          <p:cNvPr id="79" name="Arrow: Chevron 78">
            <a:extLst>
              <a:ext uri="{FF2B5EF4-FFF2-40B4-BE49-F238E27FC236}">
                <a16:creationId xmlns:a16="http://schemas.microsoft.com/office/drawing/2014/main" id="{C3E37B17-07FF-4DBF-972F-8B3762D48CAE}"/>
              </a:ext>
            </a:extLst>
          </p:cNvPr>
          <p:cNvSpPr>
            <a:spLocks/>
          </p:cNvSpPr>
          <p:nvPr/>
        </p:nvSpPr>
        <p:spPr>
          <a:xfrm>
            <a:off x="4256287" y="2475383"/>
            <a:ext cx="3840480" cy="548640"/>
          </a:xfrm>
          <a:prstGeom prst="chevron">
            <a:avLst>
              <a:gd name="adj" fmla="val 26309"/>
            </a:avLst>
          </a:prstGeom>
          <a:solidFill>
            <a:srgbClr val="652D9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Proof of Value </a:t>
            </a:r>
          </a:p>
        </p:txBody>
      </p:sp>
      <p:sp>
        <p:nvSpPr>
          <p:cNvPr id="80" name="Arrow: Chevron 79">
            <a:extLst>
              <a:ext uri="{FF2B5EF4-FFF2-40B4-BE49-F238E27FC236}">
                <a16:creationId xmlns:a16="http://schemas.microsoft.com/office/drawing/2014/main" id="{81B40DDC-67CC-4B95-A9E3-2AB5F9C5DDED}"/>
              </a:ext>
            </a:extLst>
          </p:cNvPr>
          <p:cNvSpPr>
            <a:spLocks/>
          </p:cNvSpPr>
          <p:nvPr/>
        </p:nvSpPr>
        <p:spPr>
          <a:xfrm>
            <a:off x="8043856" y="2475383"/>
            <a:ext cx="3840480" cy="548640"/>
          </a:xfrm>
          <a:prstGeom prst="chevron">
            <a:avLst>
              <a:gd name="adj" fmla="val 26309"/>
            </a:avLst>
          </a:prstGeom>
          <a:solidFill>
            <a:srgbClr val="652D9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Deployment</a:t>
            </a:r>
          </a:p>
        </p:txBody>
      </p:sp>
      <p:grpSp>
        <p:nvGrpSpPr>
          <p:cNvPr id="187" name="Group 186">
            <a:extLst>
              <a:ext uri="{FF2B5EF4-FFF2-40B4-BE49-F238E27FC236}">
                <a16:creationId xmlns:a16="http://schemas.microsoft.com/office/drawing/2014/main" id="{863D6A43-0AF2-4599-A6F2-681D17B30004}"/>
              </a:ext>
            </a:extLst>
          </p:cNvPr>
          <p:cNvGrpSpPr/>
          <p:nvPr/>
        </p:nvGrpSpPr>
        <p:grpSpPr>
          <a:xfrm>
            <a:off x="5843903" y="1638190"/>
            <a:ext cx="665248" cy="717558"/>
            <a:chOff x="5684660" y="1298034"/>
            <a:chExt cx="834198" cy="899799"/>
          </a:xfrm>
        </p:grpSpPr>
        <p:sp>
          <p:nvSpPr>
            <p:cNvPr id="127" name="Hexagon 126">
              <a:extLst>
                <a:ext uri="{FF2B5EF4-FFF2-40B4-BE49-F238E27FC236}">
                  <a16:creationId xmlns:a16="http://schemas.microsoft.com/office/drawing/2014/main" id="{FF538AB0-EADB-4296-9E2E-6647E3D9AB45}"/>
                </a:ext>
              </a:extLst>
            </p:cNvPr>
            <p:cNvSpPr/>
            <p:nvPr/>
          </p:nvSpPr>
          <p:spPr>
            <a:xfrm rot="5400000">
              <a:off x="5630397" y="1352297"/>
              <a:ext cx="786750" cy="678224"/>
            </a:xfrm>
            <a:prstGeom prst="hexagon">
              <a:avLst/>
            </a:prstGeom>
            <a:solidFill>
              <a:srgbClr val="652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Hexagon 127">
              <a:extLst>
                <a:ext uri="{FF2B5EF4-FFF2-40B4-BE49-F238E27FC236}">
                  <a16:creationId xmlns:a16="http://schemas.microsoft.com/office/drawing/2014/main" id="{79CF1BD2-A0F4-4DF2-9DD2-1301025E78F5}"/>
                </a:ext>
              </a:extLst>
            </p:cNvPr>
            <p:cNvSpPr/>
            <p:nvPr/>
          </p:nvSpPr>
          <p:spPr>
            <a:xfrm rot="5400000">
              <a:off x="5707677" y="1386651"/>
              <a:ext cx="871270" cy="751093"/>
            </a:xfrm>
            <a:prstGeom prst="hexagon">
              <a:avLst/>
            </a:prstGeom>
            <a:solidFill>
              <a:schemeClr val="bg1"/>
            </a:solidFill>
            <a:ln>
              <a:solidFill>
                <a:srgbClr val="652D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29" name="scale up" descr="scale up, scale down">
              <a:extLst>
                <a:ext uri="{FF2B5EF4-FFF2-40B4-BE49-F238E27FC236}">
                  <a16:creationId xmlns:a16="http://schemas.microsoft.com/office/drawing/2014/main" id="{41897EF6-4311-4591-8AF2-17741CABAB3F}"/>
                </a:ext>
              </a:extLst>
            </p:cNvPr>
            <p:cNvGrpSpPr/>
            <p:nvPr/>
          </p:nvGrpSpPr>
          <p:grpSpPr>
            <a:xfrm>
              <a:off x="5907250" y="1526964"/>
              <a:ext cx="472124" cy="470466"/>
              <a:chOff x="9135752" y="3049946"/>
              <a:chExt cx="404488" cy="403068"/>
            </a:xfrm>
          </p:grpSpPr>
          <p:sp>
            <p:nvSpPr>
              <p:cNvPr id="130" name="Rectangle 997">
                <a:extLst>
                  <a:ext uri="{FF2B5EF4-FFF2-40B4-BE49-F238E27FC236}">
                    <a16:creationId xmlns:a16="http://schemas.microsoft.com/office/drawing/2014/main" id="{47E91A0B-8FC9-4056-9C02-2A34ACEAC3E5}"/>
                  </a:ext>
                </a:extLst>
              </p:cNvPr>
              <p:cNvSpPr>
                <a:spLocks noChangeArrowheads="1"/>
              </p:cNvSpPr>
              <p:nvPr/>
            </p:nvSpPr>
            <p:spPr bwMode="auto">
              <a:xfrm>
                <a:off x="9135752" y="3326700"/>
                <a:ext cx="404488"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998">
                <a:extLst>
                  <a:ext uri="{FF2B5EF4-FFF2-40B4-BE49-F238E27FC236}">
                    <a16:creationId xmlns:a16="http://schemas.microsoft.com/office/drawing/2014/main" id="{BF9B9486-328F-4C67-A626-092D882939B0}"/>
                  </a:ext>
                </a:extLst>
              </p:cNvPr>
              <p:cNvSpPr>
                <a:spLocks noChangeArrowheads="1"/>
              </p:cNvSpPr>
              <p:nvPr/>
            </p:nvSpPr>
            <p:spPr bwMode="auto">
              <a:xfrm>
                <a:off x="9348640" y="3305412"/>
                <a:ext cx="85155" cy="6244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99">
                <a:extLst>
                  <a:ext uri="{FF2B5EF4-FFF2-40B4-BE49-F238E27FC236}">
                    <a16:creationId xmlns:a16="http://schemas.microsoft.com/office/drawing/2014/main" id="{B8302B78-A09D-43EC-8AD6-EDD49B1C5629}"/>
                  </a:ext>
                </a:extLst>
              </p:cNvPr>
              <p:cNvSpPr>
                <a:spLocks noChangeArrowheads="1"/>
              </p:cNvSpPr>
              <p:nvPr/>
            </p:nvSpPr>
            <p:spPr bwMode="auto">
              <a:xfrm>
                <a:off x="9455084"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1000">
                <a:extLst>
                  <a:ext uri="{FF2B5EF4-FFF2-40B4-BE49-F238E27FC236}">
                    <a16:creationId xmlns:a16="http://schemas.microsoft.com/office/drawing/2014/main" id="{2118E563-8330-4326-B7C4-0FD9C0DA7408}"/>
                  </a:ext>
                </a:extLst>
              </p:cNvPr>
              <p:cNvSpPr>
                <a:spLocks noChangeArrowheads="1"/>
              </p:cNvSpPr>
              <p:nvPr/>
            </p:nvSpPr>
            <p:spPr bwMode="auto">
              <a:xfrm>
                <a:off x="9487727" y="3367859"/>
                <a:ext cx="19870" cy="851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1001">
                <a:extLst>
                  <a:ext uri="{FF2B5EF4-FFF2-40B4-BE49-F238E27FC236}">
                    <a16:creationId xmlns:a16="http://schemas.microsoft.com/office/drawing/2014/main" id="{F3B8B8F4-33EA-435C-936B-05089975F8C3}"/>
                  </a:ext>
                </a:extLst>
              </p:cNvPr>
              <p:cNvSpPr>
                <a:spLocks noChangeArrowheads="1"/>
              </p:cNvSpPr>
              <p:nvPr/>
            </p:nvSpPr>
            <p:spPr bwMode="auto">
              <a:xfrm>
                <a:off x="9135752"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1002">
                <a:extLst>
                  <a:ext uri="{FF2B5EF4-FFF2-40B4-BE49-F238E27FC236}">
                    <a16:creationId xmlns:a16="http://schemas.microsoft.com/office/drawing/2014/main" id="{90EC9CE7-5705-4932-99D4-FD0FDB84574A}"/>
                  </a:ext>
                </a:extLst>
              </p:cNvPr>
              <p:cNvSpPr>
                <a:spLocks noChangeArrowheads="1"/>
              </p:cNvSpPr>
              <p:nvPr/>
            </p:nvSpPr>
            <p:spPr bwMode="auto">
              <a:xfrm>
                <a:off x="9135752" y="3198967"/>
                <a:ext cx="85155" cy="6244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1003">
                <a:extLst>
                  <a:ext uri="{FF2B5EF4-FFF2-40B4-BE49-F238E27FC236}">
                    <a16:creationId xmlns:a16="http://schemas.microsoft.com/office/drawing/2014/main" id="{44B1183A-6E3F-4A13-9A46-62EB05954647}"/>
                  </a:ext>
                </a:extLst>
              </p:cNvPr>
              <p:cNvSpPr>
                <a:spLocks noChangeArrowheads="1"/>
              </p:cNvSpPr>
              <p:nvPr/>
            </p:nvSpPr>
            <p:spPr bwMode="auto">
              <a:xfrm>
                <a:off x="9242196" y="3156390"/>
                <a:ext cx="85155" cy="1050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1004">
                <a:extLst>
                  <a:ext uri="{FF2B5EF4-FFF2-40B4-BE49-F238E27FC236}">
                    <a16:creationId xmlns:a16="http://schemas.microsoft.com/office/drawing/2014/main" id="{127D836E-5AAE-46CD-929D-888912A0F782}"/>
                  </a:ext>
                </a:extLst>
              </p:cNvPr>
              <p:cNvSpPr>
                <a:spLocks noChangeArrowheads="1"/>
              </p:cNvSpPr>
              <p:nvPr/>
            </p:nvSpPr>
            <p:spPr bwMode="auto">
              <a:xfrm>
                <a:off x="9348640" y="3113812"/>
                <a:ext cx="85155" cy="1476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Rectangle 1005">
                <a:extLst>
                  <a:ext uri="{FF2B5EF4-FFF2-40B4-BE49-F238E27FC236}">
                    <a16:creationId xmlns:a16="http://schemas.microsoft.com/office/drawing/2014/main" id="{D3B944B7-A5ED-46BE-AFBD-6866DB9BD154}"/>
                  </a:ext>
                </a:extLst>
              </p:cNvPr>
              <p:cNvSpPr>
                <a:spLocks noChangeArrowheads="1"/>
              </p:cNvSpPr>
              <p:nvPr/>
            </p:nvSpPr>
            <p:spPr bwMode="auto">
              <a:xfrm>
                <a:off x="9455084" y="3049946"/>
                <a:ext cx="85155" cy="21146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E8BFE83E-9F7F-4B8B-A025-3F850ADA3BC8}"/>
              </a:ext>
            </a:extLst>
          </p:cNvPr>
          <p:cNvGrpSpPr/>
          <p:nvPr/>
        </p:nvGrpSpPr>
        <p:grpSpPr>
          <a:xfrm>
            <a:off x="9631472" y="1638190"/>
            <a:ext cx="665248" cy="717558"/>
            <a:chOff x="9488898" y="1311641"/>
            <a:chExt cx="834201" cy="899798"/>
          </a:xfrm>
        </p:grpSpPr>
        <p:sp>
          <p:nvSpPr>
            <p:cNvPr id="165" name="Hexagon 164">
              <a:extLst>
                <a:ext uri="{FF2B5EF4-FFF2-40B4-BE49-F238E27FC236}">
                  <a16:creationId xmlns:a16="http://schemas.microsoft.com/office/drawing/2014/main" id="{713BABFA-8956-4264-8414-8F160744AECD}"/>
                </a:ext>
              </a:extLst>
            </p:cNvPr>
            <p:cNvSpPr/>
            <p:nvPr/>
          </p:nvSpPr>
          <p:spPr>
            <a:xfrm rot="5400000">
              <a:off x="9434635" y="1365904"/>
              <a:ext cx="786754" cy="678227"/>
            </a:xfrm>
            <a:prstGeom prst="hexagon">
              <a:avLst/>
            </a:prstGeom>
            <a:solidFill>
              <a:srgbClr val="652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Hexagon 165">
              <a:extLst>
                <a:ext uri="{FF2B5EF4-FFF2-40B4-BE49-F238E27FC236}">
                  <a16:creationId xmlns:a16="http://schemas.microsoft.com/office/drawing/2014/main" id="{DB4DF2A5-CE11-4CD9-9CA0-69D7B47338DE}"/>
                </a:ext>
              </a:extLst>
            </p:cNvPr>
            <p:cNvSpPr/>
            <p:nvPr/>
          </p:nvSpPr>
          <p:spPr>
            <a:xfrm rot="5400000">
              <a:off x="9511914" y="1400255"/>
              <a:ext cx="871273" cy="751096"/>
            </a:xfrm>
            <a:prstGeom prst="hexagon">
              <a:avLst/>
            </a:prstGeom>
            <a:solidFill>
              <a:schemeClr val="bg1"/>
            </a:solidFill>
            <a:ln>
              <a:solidFill>
                <a:srgbClr val="652D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41" name="gain insights" descr="gain insights">
              <a:extLst>
                <a:ext uri="{FF2B5EF4-FFF2-40B4-BE49-F238E27FC236}">
                  <a16:creationId xmlns:a16="http://schemas.microsoft.com/office/drawing/2014/main" id="{A4793258-BC18-46F8-9F31-CCEDFB94FDEA}"/>
                </a:ext>
              </a:extLst>
            </p:cNvPr>
            <p:cNvGrpSpPr>
              <a:grpSpLocks noChangeAspect="1"/>
            </p:cNvGrpSpPr>
            <p:nvPr/>
          </p:nvGrpSpPr>
          <p:grpSpPr bwMode="auto">
            <a:xfrm>
              <a:off x="9726122" y="1554376"/>
              <a:ext cx="442856" cy="442854"/>
              <a:chOff x="5212" y="806"/>
              <a:chExt cx="239" cy="239"/>
            </a:xfrm>
          </p:grpSpPr>
          <p:sp>
            <p:nvSpPr>
              <p:cNvPr id="142" name="AutoShape 78">
                <a:extLst>
                  <a:ext uri="{FF2B5EF4-FFF2-40B4-BE49-F238E27FC236}">
                    <a16:creationId xmlns:a16="http://schemas.microsoft.com/office/drawing/2014/main" id="{1721D3C1-B935-4DC7-BEAE-DA3D288773AF}"/>
                  </a:ext>
                </a:extLst>
              </p:cNvPr>
              <p:cNvSpPr>
                <a:spLocks noChangeAspect="1" noChangeArrowheads="1" noTextEdit="1"/>
              </p:cNvSpPr>
              <p:nvPr/>
            </p:nvSpPr>
            <p:spPr bwMode="auto">
              <a:xfrm>
                <a:off x="5212" y="806"/>
                <a:ext cx="23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Oval 80">
                <a:extLst>
                  <a:ext uri="{FF2B5EF4-FFF2-40B4-BE49-F238E27FC236}">
                    <a16:creationId xmlns:a16="http://schemas.microsoft.com/office/drawing/2014/main" id="{4C02C7B4-CF01-4EE3-959D-4DB4F1F4326F}"/>
                  </a:ext>
                </a:extLst>
              </p:cNvPr>
              <p:cNvSpPr>
                <a:spLocks noChangeArrowheads="1"/>
              </p:cNvSpPr>
              <p:nvPr/>
            </p:nvSpPr>
            <p:spPr bwMode="auto">
              <a:xfrm>
                <a:off x="521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Oval 81">
                <a:extLst>
                  <a:ext uri="{FF2B5EF4-FFF2-40B4-BE49-F238E27FC236}">
                    <a16:creationId xmlns:a16="http://schemas.microsoft.com/office/drawing/2014/main" id="{0AC6D2C2-0DD6-4502-A7C8-6B6AC4A6A4E6}"/>
                  </a:ext>
                </a:extLst>
              </p:cNvPr>
              <p:cNvSpPr>
                <a:spLocks noChangeArrowheads="1"/>
              </p:cNvSpPr>
              <p:nvPr/>
            </p:nvSpPr>
            <p:spPr bwMode="auto">
              <a:xfrm>
                <a:off x="5251" y="806"/>
                <a:ext cx="28"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Oval 82">
                <a:extLst>
                  <a:ext uri="{FF2B5EF4-FFF2-40B4-BE49-F238E27FC236}">
                    <a16:creationId xmlns:a16="http://schemas.microsoft.com/office/drawing/2014/main" id="{A7E0B032-8A24-44D1-9673-C59CAC09E3EE}"/>
                  </a:ext>
                </a:extLst>
              </p:cNvPr>
              <p:cNvSpPr>
                <a:spLocks noChangeArrowheads="1"/>
              </p:cNvSpPr>
              <p:nvPr/>
            </p:nvSpPr>
            <p:spPr bwMode="auto">
              <a:xfrm>
                <a:off x="529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Oval 83">
                <a:extLst>
                  <a:ext uri="{FF2B5EF4-FFF2-40B4-BE49-F238E27FC236}">
                    <a16:creationId xmlns:a16="http://schemas.microsoft.com/office/drawing/2014/main" id="{CB1AE3CD-5A66-4A1C-8D72-4E13CFC3F9E0}"/>
                  </a:ext>
                </a:extLst>
              </p:cNvPr>
              <p:cNvSpPr>
                <a:spLocks noChangeArrowheads="1"/>
              </p:cNvSpPr>
              <p:nvPr/>
            </p:nvSpPr>
            <p:spPr bwMode="auto">
              <a:xfrm>
                <a:off x="533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Oval 84">
                <a:extLst>
                  <a:ext uri="{FF2B5EF4-FFF2-40B4-BE49-F238E27FC236}">
                    <a16:creationId xmlns:a16="http://schemas.microsoft.com/office/drawing/2014/main" id="{96A8D527-A0FD-462E-B4C5-4C93A8A9BA34}"/>
                  </a:ext>
                </a:extLst>
              </p:cNvPr>
              <p:cNvSpPr>
                <a:spLocks noChangeArrowheads="1"/>
              </p:cNvSpPr>
              <p:nvPr/>
            </p:nvSpPr>
            <p:spPr bwMode="auto">
              <a:xfrm>
                <a:off x="5370"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Oval 85">
                <a:extLst>
                  <a:ext uri="{FF2B5EF4-FFF2-40B4-BE49-F238E27FC236}">
                    <a16:creationId xmlns:a16="http://schemas.microsoft.com/office/drawing/2014/main" id="{58822A5C-07BA-4277-B9F0-FCD3F80CCFF6}"/>
                  </a:ext>
                </a:extLst>
              </p:cNvPr>
              <p:cNvSpPr>
                <a:spLocks noChangeArrowheads="1"/>
              </p:cNvSpPr>
              <p:nvPr/>
            </p:nvSpPr>
            <p:spPr bwMode="auto">
              <a:xfrm>
                <a:off x="541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Oval 86">
                <a:extLst>
                  <a:ext uri="{FF2B5EF4-FFF2-40B4-BE49-F238E27FC236}">
                    <a16:creationId xmlns:a16="http://schemas.microsoft.com/office/drawing/2014/main" id="{EA380718-45E3-42F9-BF80-2CB15F9C7B74}"/>
                  </a:ext>
                </a:extLst>
              </p:cNvPr>
              <p:cNvSpPr>
                <a:spLocks noChangeArrowheads="1"/>
              </p:cNvSpPr>
              <p:nvPr/>
            </p:nvSpPr>
            <p:spPr bwMode="auto">
              <a:xfrm>
                <a:off x="5212"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Oval 87">
                <a:extLst>
                  <a:ext uri="{FF2B5EF4-FFF2-40B4-BE49-F238E27FC236}">
                    <a16:creationId xmlns:a16="http://schemas.microsoft.com/office/drawing/2014/main" id="{D366376D-FF89-424A-B2D0-6047622B523D}"/>
                  </a:ext>
                </a:extLst>
              </p:cNvPr>
              <p:cNvSpPr>
                <a:spLocks noChangeArrowheads="1"/>
              </p:cNvSpPr>
              <p:nvPr/>
            </p:nvSpPr>
            <p:spPr bwMode="auto">
              <a:xfrm>
                <a:off x="5411"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Oval 88">
                <a:extLst>
                  <a:ext uri="{FF2B5EF4-FFF2-40B4-BE49-F238E27FC236}">
                    <a16:creationId xmlns:a16="http://schemas.microsoft.com/office/drawing/2014/main" id="{5C8D81D1-695F-4F26-8512-75268E0F6EC7}"/>
                  </a:ext>
                </a:extLst>
              </p:cNvPr>
              <p:cNvSpPr>
                <a:spLocks noChangeArrowheads="1"/>
              </p:cNvSpPr>
              <p:nvPr/>
            </p:nvSpPr>
            <p:spPr bwMode="auto">
              <a:xfrm>
                <a:off x="521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Oval 89">
                <a:extLst>
                  <a:ext uri="{FF2B5EF4-FFF2-40B4-BE49-F238E27FC236}">
                    <a16:creationId xmlns:a16="http://schemas.microsoft.com/office/drawing/2014/main" id="{01A8E135-A7CE-4DE0-B65E-5FC3949CFAC6}"/>
                  </a:ext>
                </a:extLst>
              </p:cNvPr>
              <p:cNvSpPr>
                <a:spLocks noChangeArrowheads="1"/>
              </p:cNvSpPr>
              <p:nvPr/>
            </p:nvSpPr>
            <p:spPr bwMode="auto">
              <a:xfrm>
                <a:off x="529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Oval 90">
                <a:extLst>
                  <a:ext uri="{FF2B5EF4-FFF2-40B4-BE49-F238E27FC236}">
                    <a16:creationId xmlns:a16="http://schemas.microsoft.com/office/drawing/2014/main" id="{E3491FE1-1B76-41F5-9AB8-B3DAEA8DDDB0}"/>
                  </a:ext>
                </a:extLst>
              </p:cNvPr>
              <p:cNvSpPr>
                <a:spLocks noChangeArrowheads="1"/>
              </p:cNvSpPr>
              <p:nvPr/>
            </p:nvSpPr>
            <p:spPr bwMode="auto">
              <a:xfrm>
                <a:off x="533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Oval 91">
                <a:extLst>
                  <a:ext uri="{FF2B5EF4-FFF2-40B4-BE49-F238E27FC236}">
                    <a16:creationId xmlns:a16="http://schemas.microsoft.com/office/drawing/2014/main" id="{FC96FFC3-B711-49B2-BCFF-9E716B5762F7}"/>
                  </a:ext>
                </a:extLst>
              </p:cNvPr>
              <p:cNvSpPr>
                <a:spLocks noChangeArrowheads="1"/>
              </p:cNvSpPr>
              <p:nvPr/>
            </p:nvSpPr>
            <p:spPr bwMode="auto">
              <a:xfrm>
                <a:off x="541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Oval 92">
                <a:extLst>
                  <a:ext uri="{FF2B5EF4-FFF2-40B4-BE49-F238E27FC236}">
                    <a16:creationId xmlns:a16="http://schemas.microsoft.com/office/drawing/2014/main" id="{40DF2DEF-8D83-4F9D-BF14-28752A1C4FEA}"/>
                  </a:ext>
                </a:extLst>
              </p:cNvPr>
              <p:cNvSpPr>
                <a:spLocks noChangeArrowheads="1"/>
              </p:cNvSpPr>
              <p:nvPr/>
            </p:nvSpPr>
            <p:spPr bwMode="auto">
              <a:xfrm>
                <a:off x="5212" y="92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Oval 93">
                <a:extLst>
                  <a:ext uri="{FF2B5EF4-FFF2-40B4-BE49-F238E27FC236}">
                    <a16:creationId xmlns:a16="http://schemas.microsoft.com/office/drawing/2014/main" id="{DAEBB836-AEE1-4D0F-9E88-1053D34E1AF2}"/>
                  </a:ext>
                </a:extLst>
              </p:cNvPr>
              <p:cNvSpPr>
                <a:spLocks noChangeArrowheads="1"/>
              </p:cNvSpPr>
              <p:nvPr/>
            </p:nvSpPr>
            <p:spPr bwMode="auto">
              <a:xfrm>
                <a:off x="5292" y="92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Oval 94">
                <a:extLst>
                  <a:ext uri="{FF2B5EF4-FFF2-40B4-BE49-F238E27FC236}">
                    <a16:creationId xmlns:a16="http://schemas.microsoft.com/office/drawing/2014/main" id="{D6820503-8D64-4601-98D1-23E67D1B24F7}"/>
                  </a:ext>
                </a:extLst>
              </p:cNvPr>
              <p:cNvSpPr>
                <a:spLocks noChangeArrowheads="1"/>
              </p:cNvSpPr>
              <p:nvPr/>
            </p:nvSpPr>
            <p:spPr bwMode="auto">
              <a:xfrm>
                <a:off x="5212" y="964"/>
                <a:ext cx="27" cy="2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Oval 95">
                <a:extLst>
                  <a:ext uri="{FF2B5EF4-FFF2-40B4-BE49-F238E27FC236}">
                    <a16:creationId xmlns:a16="http://schemas.microsoft.com/office/drawing/2014/main" id="{E52DE4A7-5270-4FAE-91DA-3D3509A0F81D}"/>
                  </a:ext>
                </a:extLst>
              </p:cNvPr>
              <p:cNvSpPr>
                <a:spLocks noChangeArrowheads="1"/>
              </p:cNvSpPr>
              <p:nvPr/>
            </p:nvSpPr>
            <p:spPr bwMode="auto">
              <a:xfrm>
                <a:off x="5212" y="100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Oval 96">
                <a:extLst>
                  <a:ext uri="{FF2B5EF4-FFF2-40B4-BE49-F238E27FC236}">
                    <a16:creationId xmlns:a16="http://schemas.microsoft.com/office/drawing/2014/main" id="{EF36DE9C-D303-41D2-9B5F-50DD7356F2F7}"/>
                  </a:ext>
                </a:extLst>
              </p:cNvPr>
              <p:cNvSpPr>
                <a:spLocks noChangeArrowheads="1"/>
              </p:cNvSpPr>
              <p:nvPr/>
            </p:nvSpPr>
            <p:spPr bwMode="auto">
              <a:xfrm>
                <a:off x="5253"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Oval 97">
                <a:extLst>
                  <a:ext uri="{FF2B5EF4-FFF2-40B4-BE49-F238E27FC236}">
                    <a16:creationId xmlns:a16="http://schemas.microsoft.com/office/drawing/2014/main" id="{D8164A1E-AFAB-4087-B7F1-FA91395121EE}"/>
                  </a:ext>
                </a:extLst>
              </p:cNvPr>
              <p:cNvSpPr>
                <a:spLocks noChangeArrowheads="1"/>
              </p:cNvSpPr>
              <p:nvPr/>
            </p:nvSpPr>
            <p:spPr bwMode="auto">
              <a:xfrm>
                <a:off x="5292"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98">
                <a:extLst>
                  <a:ext uri="{FF2B5EF4-FFF2-40B4-BE49-F238E27FC236}">
                    <a16:creationId xmlns:a16="http://schemas.microsoft.com/office/drawing/2014/main" id="{F0FE2BC9-BF52-4D08-943E-B357B5AF1D05}"/>
                  </a:ext>
                </a:extLst>
              </p:cNvPr>
              <p:cNvSpPr>
                <a:spLocks noEditPoints="1"/>
              </p:cNvSpPr>
              <p:nvPr/>
            </p:nvSpPr>
            <p:spPr bwMode="auto">
              <a:xfrm>
                <a:off x="5331" y="925"/>
                <a:ext cx="119" cy="119"/>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99">
                <a:extLst>
                  <a:ext uri="{FF2B5EF4-FFF2-40B4-BE49-F238E27FC236}">
                    <a16:creationId xmlns:a16="http://schemas.microsoft.com/office/drawing/2014/main" id="{F2B210FA-4DBA-4762-8A1E-0696EF75F0A5}"/>
                  </a:ext>
                </a:extLst>
              </p:cNvPr>
              <p:cNvSpPr>
                <a:spLocks/>
              </p:cNvSpPr>
              <p:nvPr/>
            </p:nvSpPr>
            <p:spPr bwMode="auto">
              <a:xfrm>
                <a:off x="5253" y="845"/>
                <a:ext cx="52" cy="54"/>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100">
                <a:extLst>
                  <a:ext uri="{FF2B5EF4-FFF2-40B4-BE49-F238E27FC236}">
                    <a16:creationId xmlns:a16="http://schemas.microsoft.com/office/drawing/2014/main" id="{8CA0AAD2-ABD7-4E1B-9597-58332EA8772E}"/>
                  </a:ext>
                </a:extLst>
              </p:cNvPr>
              <p:cNvSpPr>
                <a:spLocks/>
              </p:cNvSpPr>
              <p:nvPr/>
            </p:nvSpPr>
            <p:spPr bwMode="auto">
              <a:xfrm>
                <a:off x="5251" y="938"/>
                <a:ext cx="54" cy="54"/>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101">
                <a:extLst>
                  <a:ext uri="{FF2B5EF4-FFF2-40B4-BE49-F238E27FC236}">
                    <a16:creationId xmlns:a16="http://schemas.microsoft.com/office/drawing/2014/main" id="{EB7F8C1A-7445-465C-AC41-7FEA5F85AEF8}"/>
                  </a:ext>
                </a:extLst>
              </p:cNvPr>
              <p:cNvSpPr>
                <a:spLocks/>
              </p:cNvSpPr>
              <p:nvPr/>
            </p:nvSpPr>
            <p:spPr bwMode="auto">
              <a:xfrm>
                <a:off x="5344" y="845"/>
                <a:ext cx="52" cy="54"/>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83" name="Group 182">
            <a:extLst>
              <a:ext uri="{FF2B5EF4-FFF2-40B4-BE49-F238E27FC236}">
                <a16:creationId xmlns:a16="http://schemas.microsoft.com/office/drawing/2014/main" id="{EB432646-CCAE-4DCC-8A99-BFC8E0A3348B}"/>
              </a:ext>
            </a:extLst>
          </p:cNvPr>
          <p:cNvGrpSpPr/>
          <p:nvPr/>
        </p:nvGrpSpPr>
        <p:grpSpPr>
          <a:xfrm>
            <a:off x="2056336" y="1638190"/>
            <a:ext cx="665246" cy="717560"/>
            <a:chOff x="1880420" y="1311641"/>
            <a:chExt cx="834198" cy="899800"/>
          </a:xfrm>
        </p:grpSpPr>
        <p:sp>
          <p:nvSpPr>
            <p:cNvPr id="168" name="Hexagon 167">
              <a:extLst>
                <a:ext uri="{FF2B5EF4-FFF2-40B4-BE49-F238E27FC236}">
                  <a16:creationId xmlns:a16="http://schemas.microsoft.com/office/drawing/2014/main" id="{9E007C82-14EE-4F95-9267-6E3DAABE7435}"/>
                </a:ext>
              </a:extLst>
            </p:cNvPr>
            <p:cNvSpPr/>
            <p:nvPr/>
          </p:nvSpPr>
          <p:spPr>
            <a:xfrm rot="5400000">
              <a:off x="1826157" y="1365904"/>
              <a:ext cx="786750" cy="678224"/>
            </a:xfrm>
            <a:prstGeom prst="hexagon">
              <a:avLst/>
            </a:prstGeom>
            <a:solidFill>
              <a:srgbClr val="B296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9" name="Hexagon 168">
              <a:extLst>
                <a:ext uri="{FF2B5EF4-FFF2-40B4-BE49-F238E27FC236}">
                  <a16:creationId xmlns:a16="http://schemas.microsoft.com/office/drawing/2014/main" id="{5DF05C52-2D7D-475C-B754-60BC9AF5D6FE}"/>
                </a:ext>
              </a:extLst>
            </p:cNvPr>
            <p:cNvSpPr/>
            <p:nvPr/>
          </p:nvSpPr>
          <p:spPr>
            <a:xfrm rot="5400000">
              <a:off x="1903437" y="1400258"/>
              <a:ext cx="871270" cy="751093"/>
            </a:xfrm>
            <a:prstGeom prst="hexagon">
              <a:avLst/>
            </a:prstGeom>
            <a:solidFill>
              <a:schemeClr val="bg1"/>
            </a:solidFill>
            <a:ln>
              <a:solidFill>
                <a:srgbClr val="B296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nvGrpSpPr>
            <p:cNvPr id="170" name="occupant experience" descr="occupant experience, accelerate">
              <a:extLst>
                <a:ext uri="{FF2B5EF4-FFF2-40B4-BE49-F238E27FC236}">
                  <a16:creationId xmlns:a16="http://schemas.microsoft.com/office/drawing/2014/main" id="{79D18E0D-27EE-4CFD-9CF4-FE3D48576DA8}"/>
                </a:ext>
              </a:extLst>
            </p:cNvPr>
            <p:cNvGrpSpPr/>
            <p:nvPr/>
          </p:nvGrpSpPr>
          <p:grpSpPr>
            <a:xfrm>
              <a:off x="2118511" y="1556090"/>
              <a:ext cx="441122" cy="439428"/>
              <a:chOff x="2573395" y="3063240"/>
              <a:chExt cx="377930" cy="376480"/>
            </a:xfrm>
          </p:grpSpPr>
          <p:sp>
            <p:nvSpPr>
              <p:cNvPr id="171" name="Oval 229">
                <a:extLst>
                  <a:ext uri="{FF2B5EF4-FFF2-40B4-BE49-F238E27FC236}">
                    <a16:creationId xmlns:a16="http://schemas.microsoft.com/office/drawing/2014/main" id="{246E5480-C2C0-4CD0-AD3D-04F024C37C50}"/>
                  </a:ext>
                </a:extLst>
              </p:cNvPr>
              <p:cNvSpPr>
                <a:spLocks noChangeArrowheads="1"/>
              </p:cNvSpPr>
              <p:nvPr/>
            </p:nvSpPr>
            <p:spPr bwMode="auto">
              <a:xfrm>
                <a:off x="2812316" y="3063240"/>
                <a:ext cx="79641" cy="796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2" name="Oval 230">
                <a:extLst>
                  <a:ext uri="{FF2B5EF4-FFF2-40B4-BE49-F238E27FC236}">
                    <a16:creationId xmlns:a16="http://schemas.microsoft.com/office/drawing/2014/main" id="{0B2247B5-CE7B-44C1-AED5-11CBF7CA0BD4}"/>
                  </a:ext>
                </a:extLst>
              </p:cNvPr>
              <p:cNvSpPr>
                <a:spLocks noChangeArrowheads="1"/>
              </p:cNvSpPr>
              <p:nvPr/>
            </p:nvSpPr>
            <p:spPr bwMode="auto">
              <a:xfrm>
                <a:off x="2781908" y="3196456"/>
                <a:ext cx="59369" cy="5936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3" name="Oval 231">
                <a:extLst>
                  <a:ext uri="{FF2B5EF4-FFF2-40B4-BE49-F238E27FC236}">
                    <a16:creationId xmlns:a16="http://schemas.microsoft.com/office/drawing/2014/main" id="{42A90607-3A9F-440F-BB80-432B92CA8259}"/>
                  </a:ext>
                </a:extLst>
              </p:cNvPr>
              <p:cNvSpPr>
                <a:spLocks noChangeArrowheads="1"/>
              </p:cNvSpPr>
              <p:nvPr/>
            </p:nvSpPr>
            <p:spPr bwMode="auto">
              <a:xfrm>
                <a:off x="2692131" y="3326776"/>
                <a:ext cx="30409" cy="28960"/>
              </a:xfrm>
              <a:prstGeom prst="ellipse">
                <a:avLst/>
              </a:prstGeom>
              <a:solidFill>
                <a:srgbClr val="8FC5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4" name="Oval 232">
                <a:extLst>
                  <a:ext uri="{FF2B5EF4-FFF2-40B4-BE49-F238E27FC236}">
                    <a16:creationId xmlns:a16="http://schemas.microsoft.com/office/drawing/2014/main" id="{62902752-5DD0-48D4-A142-7D9F04AC9743}"/>
                  </a:ext>
                </a:extLst>
              </p:cNvPr>
              <p:cNvSpPr>
                <a:spLocks noChangeArrowheads="1"/>
              </p:cNvSpPr>
              <p:nvPr/>
            </p:nvSpPr>
            <p:spPr bwMode="auto">
              <a:xfrm>
                <a:off x="2738468" y="3283336"/>
                <a:ext cx="40544" cy="39096"/>
              </a:xfrm>
              <a:prstGeom prst="ellipse">
                <a:avLst/>
              </a:prstGeom>
              <a:solidFill>
                <a:srgbClr val="479F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5" name="Oval 233">
                <a:extLst>
                  <a:ext uri="{FF2B5EF4-FFF2-40B4-BE49-F238E27FC236}">
                    <a16:creationId xmlns:a16="http://schemas.microsoft.com/office/drawing/2014/main" id="{2339EDD0-4A82-40E0-BB9A-B01F0EB4172E}"/>
                  </a:ext>
                </a:extLst>
              </p:cNvPr>
              <p:cNvSpPr>
                <a:spLocks noChangeArrowheads="1"/>
              </p:cNvSpPr>
              <p:nvPr/>
            </p:nvSpPr>
            <p:spPr bwMode="auto">
              <a:xfrm>
                <a:off x="2650139" y="3357184"/>
                <a:ext cx="20272" cy="18824"/>
              </a:xfrm>
              <a:prstGeom prst="ellipse">
                <a:avLst/>
              </a:prstGeom>
              <a:solidFill>
                <a:srgbClr val="BDD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6" name="Oval 234">
                <a:extLst>
                  <a:ext uri="{FF2B5EF4-FFF2-40B4-BE49-F238E27FC236}">
                    <a16:creationId xmlns:a16="http://schemas.microsoft.com/office/drawing/2014/main" id="{A9BFAAF6-3C9D-47AD-94E7-AB572971AD31}"/>
                  </a:ext>
                </a:extLst>
              </p:cNvPr>
              <p:cNvSpPr>
                <a:spLocks noChangeArrowheads="1"/>
              </p:cNvSpPr>
              <p:nvPr/>
            </p:nvSpPr>
            <p:spPr bwMode="auto">
              <a:xfrm>
                <a:off x="2605251" y="3367320"/>
                <a:ext cx="20272" cy="20272"/>
              </a:xfrm>
              <a:prstGeom prst="ellipse">
                <a:avLst/>
              </a:prstGeom>
              <a:solidFill>
                <a:srgbClr val="D4E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235">
                <a:extLst>
                  <a:ext uri="{FF2B5EF4-FFF2-40B4-BE49-F238E27FC236}">
                    <a16:creationId xmlns:a16="http://schemas.microsoft.com/office/drawing/2014/main" id="{A9BAAAC0-656A-424B-831E-F74D06B8A629}"/>
                  </a:ext>
                </a:extLst>
              </p:cNvPr>
              <p:cNvSpPr>
                <a:spLocks/>
              </p:cNvSpPr>
              <p:nvPr/>
            </p:nvSpPr>
            <p:spPr bwMode="auto">
              <a:xfrm>
                <a:off x="2573395" y="3063240"/>
                <a:ext cx="377930" cy="376480"/>
              </a:xfrm>
              <a:custGeom>
                <a:avLst/>
                <a:gdLst>
                  <a:gd name="T0" fmla="*/ 505 w 565"/>
                  <a:gd name="T1" fmla="*/ 0 h 564"/>
                  <a:gd name="T2" fmla="*/ 0 w 565"/>
                  <a:gd name="T3" fmla="*/ 505 h 564"/>
                  <a:gd name="T4" fmla="*/ 0 w 565"/>
                  <a:gd name="T5" fmla="*/ 564 h 564"/>
                  <a:gd name="T6" fmla="*/ 565 w 565"/>
                  <a:gd name="T7" fmla="*/ 564 h 564"/>
                  <a:gd name="T8" fmla="*/ 565 w 565"/>
                  <a:gd name="T9" fmla="*/ 0 h 564"/>
                  <a:gd name="T10" fmla="*/ 505 w 565"/>
                  <a:gd name="T11" fmla="*/ 0 h 564"/>
                </a:gdLst>
                <a:ahLst/>
                <a:cxnLst>
                  <a:cxn ang="0">
                    <a:pos x="T0" y="T1"/>
                  </a:cxn>
                  <a:cxn ang="0">
                    <a:pos x="T2" y="T3"/>
                  </a:cxn>
                  <a:cxn ang="0">
                    <a:pos x="T4" y="T5"/>
                  </a:cxn>
                  <a:cxn ang="0">
                    <a:pos x="T6" y="T7"/>
                  </a:cxn>
                  <a:cxn ang="0">
                    <a:pos x="T8" y="T9"/>
                  </a:cxn>
                  <a:cxn ang="0">
                    <a:pos x="T10" y="T11"/>
                  </a:cxn>
                </a:cxnLst>
                <a:rect l="0" t="0" r="r" b="b"/>
                <a:pathLst>
                  <a:path w="565" h="564">
                    <a:moveTo>
                      <a:pt x="505" y="0"/>
                    </a:moveTo>
                    <a:cubicBezTo>
                      <a:pt x="505" y="279"/>
                      <a:pt x="279" y="505"/>
                      <a:pt x="0" y="505"/>
                    </a:cubicBezTo>
                    <a:cubicBezTo>
                      <a:pt x="0" y="564"/>
                      <a:pt x="0" y="564"/>
                      <a:pt x="0" y="564"/>
                    </a:cubicBezTo>
                    <a:cubicBezTo>
                      <a:pt x="565" y="564"/>
                      <a:pt x="565" y="564"/>
                      <a:pt x="565" y="564"/>
                    </a:cubicBezTo>
                    <a:cubicBezTo>
                      <a:pt x="565" y="0"/>
                      <a:pt x="565" y="0"/>
                      <a:pt x="565" y="0"/>
                    </a:cubicBezTo>
                    <a:lnTo>
                      <a:pt x="50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82" name="Hexagon 181">
              <a:extLst>
                <a:ext uri="{FF2B5EF4-FFF2-40B4-BE49-F238E27FC236}">
                  <a16:creationId xmlns:a16="http://schemas.microsoft.com/office/drawing/2014/main" id="{DD2EDA6F-E221-4BB0-ACAF-882B9BC55FF5}"/>
                </a:ext>
              </a:extLst>
            </p:cNvPr>
            <p:cNvSpPr/>
            <p:nvPr/>
          </p:nvSpPr>
          <p:spPr>
            <a:xfrm rot="5400000">
              <a:off x="1903437" y="1400259"/>
              <a:ext cx="871270" cy="751093"/>
            </a:xfrm>
            <a:prstGeom prst="hexagon">
              <a:avLst/>
            </a:prstGeom>
            <a:solidFill>
              <a:schemeClr val="bg1">
                <a:alpha val="50000"/>
              </a:schemeClr>
            </a:solidFill>
            <a:ln>
              <a:solidFill>
                <a:srgbClr val="B296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cxnSp>
        <p:nvCxnSpPr>
          <p:cNvPr id="189" name="Straight Connector 188">
            <a:extLst>
              <a:ext uri="{FF2B5EF4-FFF2-40B4-BE49-F238E27FC236}">
                <a16:creationId xmlns:a16="http://schemas.microsoft.com/office/drawing/2014/main" id="{4292C474-F2DC-425E-9611-D88921A19098}"/>
              </a:ext>
            </a:extLst>
          </p:cNvPr>
          <p:cNvCxnSpPr>
            <a:cxnSpLocks/>
          </p:cNvCxnSpPr>
          <p:nvPr/>
        </p:nvCxnSpPr>
        <p:spPr>
          <a:xfrm>
            <a:off x="4256287" y="5044200"/>
            <a:ext cx="3703320" cy="0"/>
          </a:xfrm>
          <a:prstGeom prst="line">
            <a:avLst/>
          </a:prstGeom>
          <a:ln w="38100">
            <a:solidFill>
              <a:srgbClr val="652D90"/>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B20B432-0E94-42D1-A8AF-7D3422A9B249}"/>
              </a:ext>
            </a:extLst>
          </p:cNvPr>
          <p:cNvCxnSpPr>
            <a:cxnSpLocks/>
          </p:cNvCxnSpPr>
          <p:nvPr/>
        </p:nvCxnSpPr>
        <p:spPr>
          <a:xfrm>
            <a:off x="8043856" y="5044200"/>
            <a:ext cx="3703320" cy="0"/>
          </a:xfrm>
          <a:prstGeom prst="line">
            <a:avLst/>
          </a:prstGeom>
          <a:ln w="38100">
            <a:solidFill>
              <a:srgbClr val="652D90"/>
            </a:solidFill>
          </a:ln>
        </p:spPr>
        <p:style>
          <a:lnRef idx="1">
            <a:schemeClr val="accent1"/>
          </a:lnRef>
          <a:fillRef idx="0">
            <a:schemeClr val="accent1"/>
          </a:fillRef>
          <a:effectRef idx="0">
            <a:schemeClr val="accent1"/>
          </a:effectRef>
          <a:fontRef idx="minor">
            <a:schemeClr val="tx1"/>
          </a:fontRef>
        </p:style>
      </p:cxnSp>
      <p:grpSp>
        <p:nvGrpSpPr>
          <p:cNvPr id="199" name="Group 198">
            <a:extLst>
              <a:ext uri="{FF2B5EF4-FFF2-40B4-BE49-F238E27FC236}">
                <a16:creationId xmlns:a16="http://schemas.microsoft.com/office/drawing/2014/main" id="{BD435F79-03CE-44F6-BD00-23A915EC7357}"/>
              </a:ext>
            </a:extLst>
          </p:cNvPr>
          <p:cNvGrpSpPr/>
          <p:nvPr/>
        </p:nvGrpSpPr>
        <p:grpSpPr>
          <a:xfrm>
            <a:off x="3432087" y="4483855"/>
            <a:ext cx="692239" cy="611843"/>
            <a:chOff x="3299460" y="3882763"/>
            <a:chExt cx="692239" cy="611843"/>
          </a:xfrm>
        </p:grpSpPr>
        <p:sp>
          <p:nvSpPr>
            <p:cNvPr id="193" name="Arc 192">
              <a:extLst>
                <a:ext uri="{FF2B5EF4-FFF2-40B4-BE49-F238E27FC236}">
                  <a16:creationId xmlns:a16="http://schemas.microsoft.com/office/drawing/2014/main" id="{2168EDEB-AADB-43E9-A0F2-BD351FF6142B}"/>
                </a:ext>
              </a:extLst>
            </p:cNvPr>
            <p:cNvSpPr/>
            <p:nvPr/>
          </p:nvSpPr>
          <p:spPr>
            <a:xfrm>
              <a:off x="3299460" y="3996766"/>
              <a:ext cx="497840" cy="497840"/>
            </a:xfrm>
            <a:prstGeom prst="arc">
              <a:avLst>
                <a:gd name="adj1" fmla="val 21003541"/>
                <a:gd name="adj2" fmla="val 18137012"/>
              </a:avLst>
            </a:prstGeom>
            <a:noFill/>
            <a:ln cap="rnd">
              <a:solidFill>
                <a:srgbClr val="00B05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6E44F292-D425-4BA0-9FB2-80328E2861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endParaRPr kumimoji="0" lang="en-US" sz="6600" b="0" i="0" u="none" strike="noStrike" kern="1200" cap="none" spc="0" normalizeH="0" baseline="0" noProof="0">
                <a:ln>
                  <a:noFill/>
                </a:ln>
                <a:solidFill>
                  <a:srgbClr val="00B050"/>
                </a:solidFill>
                <a:effectLst/>
                <a:uLnTx/>
                <a:uFillTx/>
                <a:latin typeface="SegoeUI"/>
                <a:ea typeface="+mn-ea"/>
                <a:cs typeface="+mn-cs"/>
              </a:endParaRPr>
            </a:p>
          </p:txBody>
        </p:sp>
      </p:grpSp>
      <p:grpSp>
        <p:nvGrpSpPr>
          <p:cNvPr id="200" name="Group 199">
            <a:extLst>
              <a:ext uri="{FF2B5EF4-FFF2-40B4-BE49-F238E27FC236}">
                <a16:creationId xmlns:a16="http://schemas.microsoft.com/office/drawing/2014/main" id="{ABA1593A-C60A-4AA2-83A1-0DF16691C44B}"/>
              </a:ext>
            </a:extLst>
          </p:cNvPr>
          <p:cNvGrpSpPr/>
          <p:nvPr/>
        </p:nvGrpSpPr>
        <p:grpSpPr>
          <a:xfrm>
            <a:off x="10940550" y="4312405"/>
            <a:ext cx="692239" cy="611843"/>
            <a:chOff x="3299460" y="3882763"/>
            <a:chExt cx="692239" cy="611843"/>
          </a:xfrm>
        </p:grpSpPr>
        <p:sp>
          <p:nvSpPr>
            <p:cNvPr id="201" name="Arc 200">
              <a:extLst>
                <a:ext uri="{FF2B5EF4-FFF2-40B4-BE49-F238E27FC236}">
                  <a16:creationId xmlns:a16="http://schemas.microsoft.com/office/drawing/2014/main" id="{6D419598-286A-4714-B726-65FEAE396149}"/>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E6B8BDF4-C7B3-456A-BB77-7DB1FF2017ED}"/>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3" name="Rectangle 202">
            <a:extLst>
              <a:ext uri="{FF2B5EF4-FFF2-40B4-BE49-F238E27FC236}">
                <a16:creationId xmlns:a16="http://schemas.microsoft.com/office/drawing/2014/main" id="{70B0DB4D-297F-48C9-944D-4D26108B7FA5}"/>
              </a:ext>
            </a:extLst>
          </p:cNvPr>
          <p:cNvSpPr>
            <a:spLocks/>
          </p:cNvSpPr>
          <p:nvPr/>
        </p:nvSpPr>
        <p:spPr>
          <a:xfrm>
            <a:off x="468718" y="5164153"/>
            <a:ext cx="3703320"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IN" sz="2000" b="0" i="0" u="none" strike="noStrike" kern="1200" cap="none" spc="0" normalizeH="0" baseline="0" noProof="0">
                <a:ln>
                  <a:noFill/>
                </a:ln>
                <a:solidFill>
                  <a:srgbClr val="CF588E"/>
                </a:solidFill>
                <a:effectLst/>
                <a:uLnTx/>
                <a:uFillTx/>
                <a:latin typeface="Segoe UI Semibold"/>
                <a:ea typeface="+mn-ea"/>
                <a:cs typeface="+mn-cs"/>
              </a:rPr>
              <a:t>30 minutes</a:t>
            </a:r>
          </a:p>
        </p:txBody>
      </p:sp>
      <p:sp>
        <p:nvSpPr>
          <p:cNvPr id="204" name="Rectangle 203">
            <a:extLst>
              <a:ext uri="{FF2B5EF4-FFF2-40B4-BE49-F238E27FC236}">
                <a16:creationId xmlns:a16="http://schemas.microsoft.com/office/drawing/2014/main" id="{A034055B-6D85-4A46-982B-834EE4A51573}"/>
              </a:ext>
            </a:extLst>
          </p:cNvPr>
          <p:cNvSpPr>
            <a:spLocks/>
          </p:cNvSpPr>
          <p:nvPr/>
        </p:nvSpPr>
        <p:spPr>
          <a:xfrm>
            <a:off x="9216324" y="5164153"/>
            <a:ext cx="1358385"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rgbClr val="CF588E"/>
                </a:solidFill>
                <a:effectLst/>
                <a:uLnTx/>
                <a:uFillTx/>
                <a:latin typeface="Segoe UI Semibold"/>
                <a:ea typeface="+mn-ea"/>
                <a:cs typeface="+mn-cs"/>
              </a:rPr>
              <a:t>4-8 weeks</a:t>
            </a:r>
          </a:p>
        </p:txBody>
      </p:sp>
      <p:sp>
        <p:nvSpPr>
          <p:cNvPr id="205" name="Rectangle 204">
            <a:extLst>
              <a:ext uri="{FF2B5EF4-FFF2-40B4-BE49-F238E27FC236}">
                <a16:creationId xmlns:a16="http://schemas.microsoft.com/office/drawing/2014/main" id="{3CBBA1D1-BED6-4C6E-A24F-3D74A623918A}"/>
              </a:ext>
            </a:extLst>
          </p:cNvPr>
          <p:cNvSpPr>
            <a:spLocks/>
          </p:cNvSpPr>
          <p:nvPr/>
        </p:nvSpPr>
        <p:spPr>
          <a:xfrm>
            <a:off x="5398459" y="5164153"/>
            <a:ext cx="1418979"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a:ln>
                  <a:noFill/>
                </a:ln>
                <a:solidFill>
                  <a:srgbClr val="CF588E"/>
                </a:solidFill>
                <a:effectLst/>
                <a:uLnTx/>
                <a:uFillTx/>
                <a:latin typeface="Segoe UI Semibold"/>
                <a:ea typeface="+mn-ea"/>
                <a:cs typeface="+mn-cs"/>
              </a:rPr>
              <a:t>1 or 2 days</a:t>
            </a:r>
          </a:p>
        </p:txBody>
      </p:sp>
      <p:grpSp>
        <p:nvGrpSpPr>
          <p:cNvPr id="74" name="Group 73">
            <a:extLst>
              <a:ext uri="{FF2B5EF4-FFF2-40B4-BE49-F238E27FC236}">
                <a16:creationId xmlns:a16="http://schemas.microsoft.com/office/drawing/2014/main" id="{175AC498-B204-4D80-8195-9FE40C06C9C4}"/>
              </a:ext>
            </a:extLst>
          </p:cNvPr>
          <p:cNvGrpSpPr/>
          <p:nvPr/>
        </p:nvGrpSpPr>
        <p:grpSpPr>
          <a:xfrm>
            <a:off x="7152981" y="4312405"/>
            <a:ext cx="692239" cy="611843"/>
            <a:chOff x="3299460" y="3882763"/>
            <a:chExt cx="692239" cy="611843"/>
          </a:xfrm>
        </p:grpSpPr>
        <p:sp>
          <p:nvSpPr>
            <p:cNvPr id="75" name="Arc 74">
              <a:extLst>
                <a:ext uri="{FF2B5EF4-FFF2-40B4-BE49-F238E27FC236}">
                  <a16:creationId xmlns:a16="http://schemas.microsoft.com/office/drawing/2014/main" id="{19BFAD6B-F59B-4425-A6B3-E73CD08A7F80}"/>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A6969E2-A939-4318-8135-07087244D2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23162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403151-9F45-1E56-C7E3-A6241EECDD6C}"/>
              </a:ext>
            </a:extLst>
          </p:cNvPr>
          <p:cNvSpPr>
            <a:spLocks noGrp="1"/>
          </p:cNvSpPr>
          <p:nvPr>
            <p:ph type="title"/>
          </p:nvPr>
        </p:nvSpPr>
        <p:spPr/>
        <p:txBody>
          <a:bodyPr/>
          <a:lstStyle/>
          <a:p>
            <a:r>
              <a:rPr lang="en-US" dirty="0"/>
              <a:t>2 Day Workshop Agenda</a:t>
            </a:r>
          </a:p>
        </p:txBody>
      </p:sp>
      <p:graphicFrame>
        <p:nvGraphicFramePr>
          <p:cNvPr id="13" name="Table 3">
            <a:extLst>
              <a:ext uri="{FF2B5EF4-FFF2-40B4-BE49-F238E27FC236}">
                <a16:creationId xmlns:a16="http://schemas.microsoft.com/office/drawing/2014/main" id="{0B98C6B4-69AC-B990-03C2-3207F8CE899F}"/>
              </a:ext>
            </a:extLst>
          </p:cNvPr>
          <p:cNvGraphicFramePr>
            <a:graphicFrameLocks noGrp="1"/>
          </p:cNvGraphicFramePr>
          <p:nvPr>
            <p:extLst>
              <p:ext uri="{D42A27DB-BD31-4B8C-83A1-F6EECF244321}">
                <p14:modId xmlns:p14="http://schemas.microsoft.com/office/powerpoint/2010/main" val="910970623"/>
              </p:ext>
            </p:extLst>
          </p:nvPr>
        </p:nvGraphicFramePr>
        <p:xfrm>
          <a:off x="588263" y="1744390"/>
          <a:ext cx="4855934" cy="4615501"/>
        </p:xfrm>
        <a:graphic>
          <a:graphicData uri="http://schemas.openxmlformats.org/drawingml/2006/table">
            <a:tbl>
              <a:tblPr firstRow="1" bandRow="1">
                <a:tableStyleId>{5C22544A-7EE6-4342-B048-85BDC9FD1C3A}</a:tableStyleId>
              </a:tblPr>
              <a:tblGrid>
                <a:gridCol w="1189039">
                  <a:extLst>
                    <a:ext uri="{9D8B030D-6E8A-4147-A177-3AD203B41FA5}">
                      <a16:colId xmlns:a16="http://schemas.microsoft.com/office/drawing/2014/main" val="2681891878"/>
                    </a:ext>
                  </a:extLst>
                </a:gridCol>
                <a:gridCol w="3666895">
                  <a:extLst>
                    <a:ext uri="{9D8B030D-6E8A-4147-A177-3AD203B41FA5}">
                      <a16:colId xmlns:a16="http://schemas.microsoft.com/office/drawing/2014/main" val="3685026586"/>
                    </a:ext>
                  </a:extLst>
                </a:gridCol>
              </a:tblGrid>
              <a:tr h="336890">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565639">
                <a:tc rowSpan="3">
                  <a:txBody>
                    <a:bodyPr/>
                    <a:lstStyle/>
                    <a:p>
                      <a:pPr algn="l">
                        <a:lnSpc>
                          <a:spcPct val="100000"/>
                        </a:lnSpc>
                      </a:pPr>
                      <a:r>
                        <a:rPr lang="en-US" sz="1200" dirty="0"/>
                        <a:t>9:00-11:30am </a:t>
                      </a:r>
                    </a:p>
                    <a:p>
                      <a:pPr algn="l">
                        <a:lnSpc>
                          <a:spcPct val="100000"/>
                        </a:lnSpc>
                      </a:pPr>
                      <a:r>
                        <a:rPr lang="en-US" sz="1200" dirty="0"/>
                        <a:t>(2.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Quick Overview of Azure AI/ML Platforms &amp; Service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40815165"/>
                  </a:ext>
                </a:extLst>
              </a:tr>
              <a:tr h="867186">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Setup Unified Data Engineering, Analysis &amp; AI Platform Environment (Storage &amp; Azure Databrick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81493107"/>
                  </a:ext>
                </a:extLst>
              </a:tr>
              <a:tr h="295012">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Theory on Recommender Method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15261434"/>
                  </a:ext>
                </a:extLst>
              </a:tr>
              <a:tr h="689249">
                <a:tc>
                  <a:txBody>
                    <a:bodyPr/>
                    <a:lstStyle/>
                    <a:p>
                      <a:pPr algn="l">
                        <a:lnSpc>
                          <a:spcPct val="100000"/>
                        </a:lnSpc>
                      </a:pPr>
                      <a:r>
                        <a:rPr lang="en-US" sz="1200" dirty="0"/>
                        <a:t>11:30-12:30pm </a:t>
                      </a:r>
                    </a:p>
                    <a:p>
                      <a:pPr algn="l">
                        <a:lnSpc>
                          <a:spcPct val="100000"/>
                        </a:lnSpc>
                      </a:pPr>
                      <a:r>
                        <a:rPr lang="en-US" sz="1200" dirty="0"/>
                        <a:t>(1 hour)</a:t>
                      </a:r>
                    </a:p>
                  </a:txBody>
                  <a:tcPr anchor="ctr"/>
                </a:tc>
                <a:tc>
                  <a:txBody>
                    <a:bodyPr/>
                    <a:lstStyle/>
                    <a:p>
                      <a:pPr algn="l">
                        <a:lnSpc>
                          <a:spcPct val="100000"/>
                        </a:lnSpc>
                      </a:pPr>
                      <a:r>
                        <a:rPr lang="en-US" sz="1200" kern="1200" dirty="0">
                          <a:solidFill>
                            <a:schemeClr val="dk1"/>
                          </a:solidFill>
                        </a:rPr>
                        <a:t>Lunch</a:t>
                      </a:r>
                      <a:endParaRPr lang="en-US" sz="1200" kern="1200" dirty="0">
                        <a:solidFill>
                          <a:schemeClr val="dk1"/>
                        </a:solidFill>
                        <a:latin typeface="+mn-lt"/>
                        <a:ea typeface="+mn-ea"/>
                        <a:cs typeface="+mn-cs"/>
                      </a:endParaRPr>
                    </a:p>
                  </a:txBody>
                  <a:tcPr anchor="ctr"/>
                </a:tc>
                <a:extLst>
                  <a:ext uri="{0D108BD9-81ED-4DB2-BD59-A6C34878D82A}">
                    <a16:rowId xmlns:a16="http://schemas.microsoft.com/office/drawing/2014/main" val="4172476348"/>
                  </a:ext>
                </a:extLst>
              </a:tr>
              <a:tr h="1068621">
                <a:tc rowSpan="2">
                  <a:txBody>
                    <a:bodyPr/>
                    <a:lstStyle/>
                    <a:p>
                      <a:pPr algn="l">
                        <a:lnSpc>
                          <a:spcPct val="100000"/>
                        </a:lnSpc>
                      </a:pPr>
                      <a:r>
                        <a:rPr lang="en-US" sz="1200" dirty="0"/>
                        <a:t>12:30-5:00pm</a:t>
                      </a:r>
                    </a:p>
                    <a:p>
                      <a:pPr algn="l">
                        <a:lnSpc>
                          <a:spcPct val="100000"/>
                        </a:lnSpc>
                      </a:pPr>
                      <a:r>
                        <a:rPr lang="en-US" sz="1200" dirty="0"/>
                        <a:t>(4.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Provision &amp; Configure Azure Machine Learning Services; Review Key Azure Machine Learning SDK for Python Concept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389583041"/>
                  </a:ext>
                </a:extLst>
              </a:tr>
              <a:tr h="792904">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Plan for Next Day – Deep dive to understand customer Recommender Use Case</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387936112"/>
                  </a:ext>
                </a:extLst>
              </a:tr>
            </a:tbl>
          </a:graphicData>
        </a:graphic>
      </p:graphicFrame>
      <p:sp>
        <p:nvSpPr>
          <p:cNvPr id="14" name="Title 2">
            <a:extLst>
              <a:ext uri="{FF2B5EF4-FFF2-40B4-BE49-F238E27FC236}">
                <a16:creationId xmlns:a16="http://schemas.microsoft.com/office/drawing/2014/main" id="{924139E4-6A3F-947F-0CB9-E16B39E2F284}"/>
              </a:ext>
            </a:extLst>
          </p:cNvPr>
          <p:cNvSpPr txBox="1">
            <a:spLocks/>
          </p:cNvSpPr>
          <p:nvPr/>
        </p:nvSpPr>
        <p:spPr>
          <a:xfrm>
            <a:off x="586740" y="1171469"/>
            <a:ext cx="4855934"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r>
              <a:rPr lang="en-US" sz="1600" dirty="0"/>
              <a:t>Day 1: </a:t>
            </a:r>
            <a:r>
              <a:rPr lang="en-US" sz="1600" dirty="0">
                <a:solidFill>
                  <a:schemeClr val="tx1"/>
                </a:solidFill>
              </a:rPr>
              <a:t>Quick overview &amp; setup of AI/ML environment in Customer Azure subscription</a:t>
            </a:r>
          </a:p>
        </p:txBody>
      </p:sp>
      <p:graphicFrame>
        <p:nvGraphicFramePr>
          <p:cNvPr id="16" name="Table 3">
            <a:extLst>
              <a:ext uri="{FF2B5EF4-FFF2-40B4-BE49-F238E27FC236}">
                <a16:creationId xmlns:a16="http://schemas.microsoft.com/office/drawing/2014/main" id="{43BF778A-807F-4EAF-46EE-83B4EFAE13AF}"/>
              </a:ext>
            </a:extLst>
          </p:cNvPr>
          <p:cNvGraphicFramePr>
            <a:graphicFrameLocks noGrp="1"/>
          </p:cNvGraphicFramePr>
          <p:nvPr>
            <p:extLst>
              <p:ext uri="{D42A27DB-BD31-4B8C-83A1-F6EECF244321}">
                <p14:modId xmlns:p14="http://schemas.microsoft.com/office/powerpoint/2010/main" val="3372261186"/>
              </p:ext>
            </p:extLst>
          </p:nvPr>
        </p:nvGraphicFramePr>
        <p:xfrm>
          <a:off x="6142656" y="1744390"/>
          <a:ext cx="5261553" cy="4615501"/>
        </p:xfrm>
        <a:graphic>
          <a:graphicData uri="http://schemas.openxmlformats.org/drawingml/2006/table">
            <a:tbl>
              <a:tblPr firstRow="1" bandRow="1">
                <a:tableStyleId>{5C22544A-7EE6-4342-B048-85BDC9FD1C3A}</a:tableStyleId>
              </a:tblPr>
              <a:tblGrid>
                <a:gridCol w="1288361">
                  <a:extLst>
                    <a:ext uri="{9D8B030D-6E8A-4147-A177-3AD203B41FA5}">
                      <a16:colId xmlns:a16="http://schemas.microsoft.com/office/drawing/2014/main" val="2681891878"/>
                    </a:ext>
                  </a:extLst>
                </a:gridCol>
                <a:gridCol w="3973192">
                  <a:extLst>
                    <a:ext uri="{9D8B030D-6E8A-4147-A177-3AD203B41FA5}">
                      <a16:colId xmlns:a16="http://schemas.microsoft.com/office/drawing/2014/main" val="3685026586"/>
                    </a:ext>
                  </a:extLst>
                </a:gridCol>
              </a:tblGrid>
              <a:tr h="345471">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1500305">
                <a:tc>
                  <a:txBody>
                    <a:bodyPr/>
                    <a:lstStyle/>
                    <a:p>
                      <a:pPr algn="l">
                        <a:lnSpc>
                          <a:spcPct val="100000"/>
                        </a:lnSpc>
                      </a:pPr>
                      <a:r>
                        <a:rPr lang="en-US" sz="1200" dirty="0"/>
                        <a:t>9:00-11:30am </a:t>
                      </a:r>
                    </a:p>
                    <a:p>
                      <a:pPr algn="l">
                        <a:lnSpc>
                          <a:spcPct val="100000"/>
                        </a:lnSpc>
                      </a:pPr>
                      <a:r>
                        <a:rPr lang="en-US" sz="1200" dirty="0"/>
                        <a:t>(</a:t>
                      </a:r>
                      <a:r>
                        <a:rPr lang="en-US" sz="1200" i="1" dirty="0"/>
                        <a:t>2.5 hours</a:t>
                      </a:r>
                      <a:r>
                        <a:rPr lang="en-US" sz="1200" dirty="0"/>
                        <a:t>)</a:t>
                      </a:r>
                    </a:p>
                  </a:txBody>
                  <a:tcPr anchor="ctr"/>
                </a:tc>
                <a:tc>
                  <a:txBody>
                    <a:bodyPr/>
                    <a:lstStyle/>
                    <a:p>
                      <a:pPr marL="0" marR="0" algn="l">
                        <a:lnSpc>
                          <a:spcPct val="100000"/>
                        </a:lnSpc>
                        <a:spcBef>
                          <a:spcPts val="0"/>
                        </a:spcBef>
                        <a:spcAft>
                          <a:spcPts val="0"/>
                        </a:spcAft>
                      </a:pPr>
                      <a:r>
                        <a:rPr lang="en-US" sz="1200" b="1" kern="1200" dirty="0">
                          <a:solidFill>
                            <a:schemeClr val="dk1"/>
                          </a:solidFill>
                          <a:latin typeface="+mn-lt"/>
                          <a:ea typeface="+mn-ea"/>
                          <a:cs typeface="+mn-cs"/>
                        </a:rPr>
                        <a:t>Load Data, Visualization, Data Cleaning and Basic Feature Engineering. </a:t>
                      </a:r>
                    </a:p>
                    <a:p>
                      <a:pPr marL="0" marR="0" algn="l">
                        <a:lnSpc>
                          <a:spcPct val="100000"/>
                        </a:lnSpc>
                        <a:spcBef>
                          <a:spcPts val="0"/>
                        </a:spcBef>
                        <a:spcAft>
                          <a:spcPts val="0"/>
                        </a:spcAft>
                      </a:pPr>
                      <a:r>
                        <a:rPr lang="en-US" sz="1200" b="1" kern="1200" dirty="0">
                          <a:solidFill>
                            <a:schemeClr val="dk1"/>
                          </a:solidFill>
                          <a:latin typeface="+mn-lt"/>
                          <a:ea typeface="+mn-ea"/>
                          <a:cs typeface="+mn-cs"/>
                        </a:rPr>
                        <a:t>Each attendee:</a:t>
                      </a:r>
                    </a:p>
                    <a:p>
                      <a:pPr marL="285750" marR="0" indent="-285750" algn="l">
                        <a:lnSpc>
                          <a:spcPct val="100000"/>
                        </a:lnSpc>
                        <a:spcBef>
                          <a:spcPts val="0"/>
                        </a:spcBef>
                        <a:spcAft>
                          <a:spcPts val="0"/>
                        </a:spcAft>
                        <a:buFont typeface="Arial" panose="020B0604020202020204" pitchFamily="34" charset="0"/>
                        <a:buChar char="•"/>
                      </a:pPr>
                      <a:r>
                        <a:rPr lang="en-US" sz="1200" kern="1200" dirty="0">
                          <a:solidFill>
                            <a:schemeClr val="dk1"/>
                          </a:solidFill>
                          <a:latin typeface="+mn-lt"/>
                          <a:ea typeface="+mn-ea"/>
                          <a:cs typeface="+mn-cs"/>
                        </a:rPr>
                        <a:t>Loads data, performs data analysis &amp; visualization to gain deep understanding of data towards predictive insights being targeted</a:t>
                      </a:r>
                    </a:p>
                    <a:p>
                      <a:pPr marL="285750" marR="0" indent="-285750" algn="l">
                        <a:lnSpc>
                          <a:spcPct val="100000"/>
                        </a:lnSpc>
                        <a:spcBef>
                          <a:spcPts val="0"/>
                        </a:spcBef>
                        <a:spcAft>
                          <a:spcPts val="0"/>
                        </a:spcAft>
                        <a:buFont typeface="Arial" panose="020B0604020202020204" pitchFamily="34" charset="0"/>
                        <a:buChar char="•"/>
                      </a:pPr>
                      <a:r>
                        <a:rPr lang="en-US" sz="1200" kern="1200" dirty="0">
                          <a:solidFill>
                            <a:schemeClr val="dk1"/>
                          </a:solidFill>
                          <a:latin typeface="+mn-lt"/>
                          <a:ea typeface="+mn-ea"/>
                          <a:cs typeface="+mn-cs"/>
                        </a:rPr>
                        <a:t>Initialize machine learning service to track training experiments for the recommender algorithms</a:t>
                      </a:r>
                    </a:p>
                  </a:txBody>
                  <a:tcPr marL="68580" marR="68580" marT="0" marB="0" anchor="ctr"/>
                </a:tc>
                <a:extLst>
                  <a:ext uri="{0D108BD9-81ED-4DB2-BD59-A6C34878D82A}">
                    <a16:rowId xmlns:a16="http://schemas.microsoft.com/office/drawing/2014/main" val="440815165"/>
                  </a:ext>
                </a:extLst>
              </a:tr>
              <a:tr h="706805">
                <a:tc>
                  <a:txBody>
                    <a:bodyPr/>
                    <a:lstStyle/>
                    <a:p>
                      <a:pPr algn="l">
                        <a:lnSpc>
                          <a:spcPct val="100000"/>
                        </a:lnSpc>
                      </a:pPr>
                      <a:r>
                        <a:rPr lang="en-US" sz="1200" dirty="0"/>
                        <a:t>11:30-12:30pm </a:t>
                      </a:r>
                    </a:p>
                    <a:p>
                      <a:pPr algn="l">
                        <a:lnSpc>
                          <a:spcPct val="100000"/>
                        </a:lnSpc>
                      </a:pPr>
                      <a:r>
                        <a:rPr lang="en-US" sz="1200" dirty="0"/>
                        <a:t>(</a:t>
                      </a:r>
                      <a:r>
                        <a:rPr lang="en-US" sz="1200" i="1" dirty="0"/>
                        <a:t>1 hour</a:t>
                      </a:r>
                      <a:r>
                        <a:rPr lang="en-US" sz="1200" dirty="0"/>
                        <a:t>)</a:t>
                      </a:r>
                    </a:p>
                  </a:txBody>
                  <a:tcPr anchor="ctr"/>
                </a:tc>
                <a:tc>
                  <a:txBody>
                    <a:bodyPr/>
                    <a:lstStyle/>
                    <a:p>
                      <a:pPr algn="l">
                        <a:lnSpc>
                          <a:spcPct val="100000"/>
                        </a:lnSpc>
                      </a:pPr>
                      <a:r>
                        <a:rPr lang="en-US" sz="1200" kern="1200" dirty="0">
                          <a:solidFill>
                            <a:schemeClr val="dk1"/>
                          </a:solidFill>
                          <a:latin typeface="+mn-lt"/>
                          <a:ea typeface="+mn-ea"/>
                          <a:cs typeface="+mn-cs"/>
                        </a:rPr>
                        <a:t>Lunch</a:t>
                      </a:r>
                    </a:p>
                  </a:txBody>
                  <a:tcPr anchor="ctr"/>
                </a:tc>
                <a:extLst>
                  <a:ext uri="{0D108BD9-81ED-4DB2-BD59-A6C34878D82A}">
                    <a16:rowId xmlns:a16="http://schemas.microsoft.com/office/drawing/2014/main" val="4172476348"/>
                  </a:ext>
                </a:extLst>
              </a:tr>
              <a:tr h="2062920">
                <a:tc>
                  <a:txBody>
                    <a:bodyPr/>
                    <a:lstStyle/>
                    <a:p>
                      <a:pPr algn="l">
                        <a:lnSpc>
                          <a:spcPct val="100000"/>
                        </a:lnSpc>
                      </a:pPr>
                      <a:r>
                        <a:rPr lang="en-US" sz="1200" dirty="0"/>
                        <a:t>12:30-5:00pm</a:t>
                      </a:r>
                    </a:p>
                    <a:p>
                      <a:pPr algn="l">
                        <a:lnSpc>
                          <a:spcPct val="100000"/>
                        </a:lnSpc>
                      </a:pPr>
                      <a:r>
                        <a:rPr lang="en-US" sz="1200" dirty="0"/>
                        <a:t>(</a:t>
                      </a:r>
                      <a:r>
                        <a:rPr lang="en-US" sz="1200" i="1" dirty="0"/>
                        <a:t>4.5 hours)</a:t>
                      </a:r>
                      <a:endParaRPr lang="en-US" sz="1200" dirty="0"/>
                    </a:p>
                  </a:txBody>
                  <a:tcPr anchor="ctr"/>
                </a:tc>
                <a:tc>
                  <a:txBody>
                    <a:bodyPr/>
                    <a:lstStyle/>
                    <a:p>
                      <a:pPr marL="0" marR="0" indent="0" algn="l">
                        <a:lnSpc>
                          <a:spcPct val="100000"/>
                        </a:lnSpc>
                        <a:spcBef>
                          <a:spcPts val="0"/>
                        </a:spcBef>
                        <a:spcAft>
                          <a:spcPts val="0"/>
                        </a:spcAft>
                        <a:buFont typeface="Arial" panose="020B0604020202020204" pitchFamily="34" charset="0"/>
                        <a:buNone/>
                      </a:pPr>
                      <a:r>
                        <a:rPr lang="en-US" sz="1200" b="1" kern="1200" dirty="0">
                          <a:solidFill>
                            <a:schemeClr val="dk1"/>
                          </a:solidFill>
                          <a:effectLst/>
                          <a:latin typeface="+mn-lt"/>
                          <a:ea typeface="+mn-ea"/>
                          <a:cs typeface="+mn-cs"/>
                        </a:rPr>
                        <a:t>Create Model &amp; Version Model Image (Docker Container Image) &amp; Deploy Model Scoring Service to Azure Container Instance. Each attendee:</a:t>
                      </a:r>
                    </a:p>
                    <a:p>
                      <a:pPr marL="285750" marR="0" indent="-285750" algn="l">
                        <a:lnSpc>
                          <a:spcPct val="100000"/>
                        </a:lnSpc>
                        <a:spcBef>
                          <a:spcPts val="0"/>
                        </a:spcBef>
                        <a:spcAft>
                          <a:spcPts val="0"/>
                        </a:spcAft>
                        <a:buFont typeface="Arial" panose="020B0604020202020204" pitchFamily="34" charset="0"/>
                        <a:buChar char="•"/>
                      </a:pPr>
                      <a:r>
                        <a:rPr lang="en-US" sz="1200" kern="1200" dirty="0">
                          <a:solidFill>
                            <a:schemeClr val="dk1"/>
                          </a:solidFill>
                          <a:effectLst/>
                          <a:latin typeface="+mn-lt"/>
                          <a:ea typeface="+mn-ea"/>
                          <a:cs typeface="+mn-cs"/>
                        </a:rPr>
                        <a:t>Iteratively creates, tracks, reviews and tunes machine learning model using a couple of Recommender ML Frameworks ; Tracks model performance in Azure Machine Learning Workspace</a:t>
                      </a:r>
                    </a:p>
                    <a:p>
                      <a:pPr marL="285750" marR="0" indent="-285750" algn="l">
                        <a:lnSpc>
                          <a:spcPct val="100000"/>
                        </a:lnSpc>
                        <a:spcBef>
                          <a:spcPts val="0"/>
                        </a:spcBef>
                        <a:spcAft>
                          <a:spcPts val="0"/>
                        </a:spcAft>
                        <a:buFont typeface="Arial" panose="020B0604020202020204" pitchFamily="34" charset="0"/>
                        <a:buChar char="•"/>
                      </a:pPr>
                      <a:r>
                        <a:rPr lang="en-US" sz="1200" kern="1200" dirty="0">
                          <a:solidFill>
                            <a:schemeClr val="dk1"/>
                          </a:solidFill>
                          <a:effectLst/>
                          <a:latin typeface="+mn-lt"/>
                          <a:ea typeface="+mn-ea"/>
                          <a:cs typeface="+mn-cs"/>
                        </a:rPr>
                        <a:t>Creates Python-based model scoring script and converts the model to a RESTful API Docker Image</a:t>
                      </a:r>
                    </a:p>
                    <a:p>
                      <a:pPr marL="285750" marR="0" indent="-285750" algn="l">
                        <a:lnSpc>
                          <a:spcPct val="100000"/>
                        </a:lnSpc>
                        <a:spcBef>
                          <a:spcPts val="0"/>
                        </a:spcBef>
                        <a:spcAft>
                          <a:spcPts val="0"/>
                        </a:spcAft>
                        <a:buFont typeface="Arial" panose="020B0604020202020204" pitchFamily="34" charset="0"/>
                        <a:buChar char="•"/>
                      </a:pPr>
                      <a:r>
                        <a:rPr lang="en-US" sz="1200" kern="1200" dirty="0">
                          <a:solidFill>
                            <a:schemeClr val="dk1"/>
                          </a:solidFill>
                          <a:effectLst/>
                          <a:latin typeface="+mn-lt"/>
                          <a:ea typeface="+mn-ea"/>
                          <a:cs typeface="+mn-cs"/>
                        </a:rPr>
                        <a:t>Deploys model image to Azure Container Instance and Azure Kubernetes Service and scores against it</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389583041"/>
                  </a:ext>
                </a:extLst>
              </a:tr>
            </a:tbl>
          </a:graphicData>
        </a:graphic>
      </p:graphicFrame>
      <p:sp>
        <p:nvSpPr>
          <p:cNvPr id="17" name="Title 2">
            <a:extLst>
              <a:ext uri="{FF2B5EF4-FFF2-40B4-BE49-F238E27FC236}">
                <a16:creationId xmlns:a16="http://schemas.microsoft.com/office/drawing/2014/main" id="{8483F569-53CC-37E8-4C83-EAD5E2A7AB99}"/>
              </a:ext>
            </a:extLst>
          </p:cNvPr>
          <p:cNvSpPr txBox="1">
            <a:spLocks/>
          </p:cNvSpPr>
          <p:nvPr/>
        </p:nvSpPr>
        <p:spPr>
          <a:xfrm>
            <a:off x="6141134" y="1171469"/>
            <a:ext cx="5261552"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r>
              <a:rPr lang="en-US" sz="1600" dirty="0"/>
              <a:t>Day 2: </a:t>
            </a:r>
            <a:r>
              <a:rPr lang="en-US" sz="1600" dirty="0">
                <a:solidFill>
                  <a:schemeClr val="tx1"/>
                </a:solidFill>
              </a:rPr>
              <a:t>Hands on - Customer use case model building and deployment </a:t>
            </a:r>
          </a:p>
        </p:txBody>
      </p:sp>
    </p:spTree>
    <p:extLst>
      <p:ext uri="{BB962C8B-B14F-4D97-AF65-F5344CB8AC3E}">
        <p14:creationId xmlns:p14="http://schemas.microsoft.com/office/powerpoint/2010/main" val="111736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w/ EA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85</TotalTime>
  <Words>1121</Words>
  <Application>Microsoft Office PowerPoint</Application>
  <PresentationFormat>Widescreen</PresentationFormat>
  <Paragraphs>133</Paragraphs>
  <Slides>5</Slides>
  <Notes>4</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9" baseType="lpstr">
      <vt:lpstr>Arial</vt:lpstr>
      <vt:lpstr>Arial,Sans-Serif</vt:lpstr>
      <vt:lpstr>Calibri</vt:lpstr>
      <vt:lpstr>Calibri Light</vt:lpstr>
      <vt:lpstr>Georgia</vt:lpstr>
      <vt:lpstr>Gotham Book</vt:lpstr>
      <vt:lpstr>Segoe UI</vt:lpstr>
      <vt:lpstr>Segoe UI Semibold</vt:lpstr>
      <vt:lpstr>Segoe UI Semilight</vt:lpstr>
      <vt:lpstr>SegoeUI</vt:lpstr>
      <vt:lpstr>Wingdings</vt:lpstr>
      <vt:lpstr>Office Theme</vt:lpstr>
      <vt:lpstr>1_Azure w/ EAE</vt:lpstr>
      <vt:lpstr>think-cell Slide</vt:lpstr>
      <vt:lpstr>Retail Recommender Solution Offering</vt:lpstr>
      <vt:lpstr>Technology is driving the demand for personalization</vt:lpstr>
      <vt:lpstr>At the center of sales and marketing channels</vt:lpstr>
      <vt:lpstr>Next steps: How to engage?</vt:lpstr>
      <vt:lpstr>2 Day Workshop Agend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tail Recommender Solution Offering</dc:title>
  <dc:creator>Pablo Marin</dc:creator>
  <cp:lastModifiedBy>Julia Heseltine</cp:lastModifiedBy>
  <cp:revision>3</cp:revision>
  <dcterms:created xsi:type="dcterms:W3CDTF">2022-11-16T20:39:08Z</dcterms:created>
  <dcterms:modified xsi:type="dcterms:W3CDTF">2023-01-20T02:35:13Z</dcterms:modified>
</cp:coreProperties>
</file>